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0"/>
  </p:notesMasterIdLst>
  <p:sldIdLst>
    <p:sldId id="256" r:id="rId2"/>
    <p:sldId id="258" r:id="rId3"/>
    <p:sldId id="1620" r:id="rId4"/>
    <p:sldId id="259" r:id="rId5"/>
    <p:sldId id="1619" r:id="rId6"/>
    <p:sldId id="1606" r:id="rId7"/>
    <p:sldId id="1617" r:id="rId8"/>
    <p:sldId id="1618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26D"/>
    <a:srgbClr val="007AD7"/>
    <a:srgbClr val="DBDBDB"/>
    <a:srgbClr val="00BAFF"/>
    <a:srgbClr val="F7F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17" autoAdjust="0"/>
    <p:restoredTop sz="94694"/>
  </p:normalViewPr>
  <p:slideViewPr>
    <p:cSldViewPr snapToGrid="0" snapToObjects="1">
      <p:cViewPr>
        <p:scale>
          <a:sx n="125" d="100"/>
          <a:sy n="125" d="100"/>
        </p:scale>
        <p:origin x="90" y="-4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1278F7-A04D-4475-9B22-A516B0233835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s-IS"/>
        </a:p>
      </dgm:t>
    </dgm:pt>
    <dgm:pt modelId="{4271975F-AABC-45CA-84CF-000EE8932E7B}">
      <dgm:prSet phldrT="[Text]"/>
      <dgm:spPr>
        <a:solidFill>
          <a:schemeClr val="tx1">
            <a:lumMod val="60000"/>
            <a:lumOff val="40000"/>
          </a:schemeClr>
        </a:solidFill>
      </dgm:spPr>
      <dgm:t>
        <a:bodyPr/>
        <a:lstStyle/>
        <a:p>
          <a:r>
            <a:rPr lang="en-GB" dirty="0"/>
            <a:t>PEPPOL international invoice model</a:t>
          </a:r>
          <a:endParaRPr lang="is-IS" dirty="0"/>
        </a:p>
      </dgm:t>
    </dgm:pt>
    <dgm:pt modelId="{0F90A23A-EBF2-41C7-BB9C-067A8A829A03}" type="parTrans" cxnId="{76E9636E-BC0B-4AB9-A203-2C23226BD11F}">
      <dgm:prSet/>
      <dgm:spPr/>
      <dgm:t>
        <a:bodyPr/>
        <a:lstStyle/>
        <a:p>
          <a:endParaRPr lang="is-IS"/>
        </a:p>
      </dgm:t>
    </dgm:pt>
    <dgm:pt modelId="{1BD5B31C-F069-4799-8017-2BBEE103449E}" type="sibTrans" cxnId="{76E9636E-BC0B-4AB9-A203-2C23226BD11F}">
      <dgm:prSet/>
      <dgm:spPr/>
      <dgm:t>
        <a:bodyPr/>
        <a:lstStyle/>
        <a:p>
          <a:endParaRPr lang="is-IS"/>
        </a:p>
      </dgm:t>
    </dgm:pt>
    <dgm:pt modelId="{08E87FCB-A308-4B4F-8E47-8BB394B9D870}">
      <dgm:prSet phldrT="[Text]"/>
      <dgm:spPr>
        <a:solidFill>
          <a:srgbClr val="00B050"/>
        </a:solidFill>
      </dgm:spPr>
      <dgm:t>
        <a:bodyPr/>
        <a:lstStyle/>
        <a:p>
          <a:r>
            <a:rPr lang="en-GB" dirty="0"/>
            <a:t>EN 16931</a:t>
          </a:r>
          <a:endParaRPr lang="is-IS" dirty="0"/>
        </a:p>
      </dgm:t>
    </dgm:pt>
    <dgm:pt modelId="{195B9CC4-E491-4DD1-B941-D88C928AAC07}" type="parTrans" cxnId="{55CC94C8-2410-40ED-9AD9-00C2F43792B6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11F4FFBA-F857-4A88-B541-B858E10CB705}" type="sibTrans" cxnId="{55CC94C8-2410-40ED-9AD9-00C2F43792B6}">
      <dgm:prSet/>
      <dgm:spPr/>
      <dgm:t>
        <a:bodyPr/>
        <a:lstStyle/>
        <a:p>
          <a:endParaRPr lang="is-IS"/>
        </a:p>
      </dgm:t>
    </dgm:pt>
    <dgm:pt modelId="{A1A1D94A-E359-430D-B216-B987992CB6BD}">
      <dgm:prSet phldrT="[Text]"/>
      <dgm:spPr/>
      <dgm:t>
        <a:bodyPr/>
        <a:lstStyle/>
        <a:p>
          <a:r>
            <a:rPr lang="en-GB" dirty="0"/>
            <a:t>PEPPOL BIS Billing 3.0</a:t>
          </a:r>
          <a:endParaRPr lang="is-IS" dirty="0"/>
        </a:p>
      </dgm:t>
    </dgm:pt>
    <dgm:pt modelId="{3E865C7B-EB84-4083-B4AB-D9F9C0AB91CC}" type="parTrans" cxnId="{3990C179-AD2C-40D5-91DF-C86F1D44695D}">
      <dgm:prSet/>
      <dgm:spPr>
        <a:ln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26765869-F214-4FC6-8E35-EEE23A15E97F}" type="sibTrans" cxnId="{3990C179-AD2C-40D5-91DF-C86F1D44695D}">
      <dgm:prSet/>
      <dgm:spPr/>
      <dgm:t>
        <a:bodyPr/>
        <a:lstStyle/>
        <a:p>
          <a:endParaRPr lang="is-IS"/>
        </a:p>
      </dgm:t>
    </dgm:pt>
    <dgm:pt modelId="{EEA852BC-B2CF-4939-9BAC-821185449E2C}">
      <dgm:prSet phldrT="[Text]"/>
      <dgm:spPr/>
      <dgm:t>
        <a:bodyPr/>
        <a:lstStyle/>
        <a:p>
          <a:r>
            <a:rPr lang="en-GB" dirty="0"/>
            <a:t>Spanish </a:t>
          </a:r>
          <a:r>
            <a:rPr lang="en-GB" dirty="0" err="1"/>
            <a:t>facturae</a:t>
          </a:r>
          <a:endParaRPr lang="is-IS" dirty="0"/>
        </a:p>
      </dgm:t>
    </dgm:pt>
    <dgm:pt modelId="{CEFC5039-1661-41C1-8194-82DCD8B50375}" type="parTrans" cxnId="{D40D376F-938E-4926-A8D0-D89F4A6256E3}">
      <dgm:prSet/>
      <dgm:spPr>
        <a:ln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6FA3C847-8206-40A4-8F6A-5F74990F71AF}" type="sibTrans" cxnId="{D40D376F-938E-4926-A8D0-D89F4A6256E3}">
      <dgm:prSet/>
      <dgm:spPr/>
      <dgm:t>
        <a:bodyPr/>
        <a:lstStyle/>
        <a:p>
          <a:endParaRPr lang="is-IS"/>
        </a:p>
      </dgm:t>
    </dgm:pt>
    <dgm:pt modelId="{CCAB3B6E-E28D-478E-9958-55EC2CA60A57}">
      <dgm:prSet phldrT="[Text]"/>
      <dgm:spPr/>
      <dgm:t>
        <a:bodyPr/>
        <a:lstStyle/>
        <a:p>
          <a:r>
            <a:rPr lang="en-GB" dirty="0" err="1"/>
            <a:t>TransTasman</a:t>
          </a:r>
          <a:endParaRPr lang="is-IS" dirty="0"/>
        </a:p>
      </dgm:t>
    </dgm:pt>
    <dgm:pt modelId="{9710E577-41A6-4DE8-8530-A5429A8D27A2}" type="parTrans" cxnId="{C9EC68CE-D23E-4AF2-BA9C-357CAEBDE536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2E9EEEFB-9004-4C3D-ABB1-02BBD3E16456}" type="sibTrans" cxnId="{C9EC68CE-D23E-4AF2-BA9C-357CAEBDE536}">
      <dgm:prSet/>
      <dgm:spPr/>
      <dgm:t>
        <a:bodyPr/>
        <a:lstStyle/>
        <a:p>
          <a:endParaRPr lang="is-IS"/>
        </a:p>
      </dgm:t>
    </dgm:pt>
    <dgm:pt modelId="{F1D42D8F-57B6-400F-B278-DE9B7664CAD4}">
      <dgm:prSet phldrT="[Text]"/>
      <dgm:spPr/>
      <dgm:t>
        <a:bodyPr/>
        <a:lstStyle/>
        <a:p>
          <a:r>
            <a:rPr lang="en-GB" dirty="0"/>
            <a:t>International model</a:t>
          </a:r>
          <a:endParaRPr lang="is-IS" dirty="0"/>
        </a:p>
      </dgm:t>
    </dgm:pt>
    <dgm:pt modelId="{38AF3D0C-4A06-4201-A837-1D3CDAE5139A}" type="parTrans" cxnId="{B1FEA1EB-96C8-4EC7-9269-24DF2BF28CEF}">
      <dgm:prSet/>
      <dgm:spPr/>
      <dgm:t>
        <a:bodyPr/>
        <a:lstStyle/>
        <a:p>
          <a:endParaRPr lang="is-IS"/>
        </a:p>
      </dgm:t>
    </dgm:pt>
    <dgm:pt modelId="{C24ED4BF-C344-45E5-9ECD-70FAAD170B46}" type="sibTrans" cxnId="{B1FEA1EB-96C8-4EC7-9269-24DF2BF28CEF}">
      <dgm:prSet/>
      <dgm:spPr/>
      <dgm:t>
        <a:bodyPr/>
        <a:lstStyle/>
        <a:p>
          <a:endParaRPr lang="is-IS"/>
        </a:p>
      </dgm:t>
    </dgm:pt>
    <dgm:pt modelId="{4A914034-5E0F-4876-AAA0-33DD1D8D307F}">
      <dgm:prSet phldrT="[Text]"/>
      <dgm:spPr/>
      <dgm:t>
        <a:bodyPr/>
        <a:lstStyle/>
        <a:p>
          <a:r>
            <a:rPr lang="en-GB" dirty="0"/>
            <a:t>Invoice domain specifications</a:t>
          </a:r>
          <a:endParaRPr lang="is-IS" dirty="0"/>
        </a:p>
      </dgm:t>
    </dgm:pt>
    <dgm:pt modelId="{73D8D2B1-2191-48B3-B1F1-90F29C2AF920}" type="parTrans" cxnId="{24AE943A-4940-44D0-881D-CD82F8AC1E1B}">
      <dgm:prSet/>
      <dgm:spPr/>
      <dgm:t>
        <a:bodyPr/>
        <a:lstStyle/>
        <a:p>
          <a:endParaRPr lang="is-IS"/>
        </a:p>
      </dgm:t>
    </dgm:pt>
    <dgm:pt modelId="{E2B73278-6752-4449-8555-876C9A0A170A}" type="sibTrans" cxnId="{24AE943A-4940-44D0-881D-CD82F8AC1E1B}">
      <dgm:prSet/>
      <dgm:spPr/>
      <dgm:t>
        <a:bodyPr/>
        <a:lstStyle/>
        <a:p>
          <a:endParaRPr lang="is-IS"/>
        </a:p>
      </dgm:t>
    </dgm:pt>
    <dgm:pt modelId="{F0ADC1CA-8CA0-43BB-A3FB-F0AC89B8EA33}">
      <dgm:prSet phldrT="[Text]"/>
      <dgm:spPr/>
      <dgm:t>
        <a:bodyPr/>
        <a:lstStyle/>
        <a:p>
          <a:r>
            <a:rPr lang="en-GB" dirty="0"/>
            <a:t>Implementation specific</a:t>
          </a:r>
          <a:endParaRPr lang="is-IS" dirty="0"/>
        </a:p>
      </dgm:t>
    </dgm:pt>
    <dgm:pt modelId="{08F0EEEE-0570-4659-A4EC-20DAE43AF49F}" type="parTrans" cxnId="{42C36835-5827-4224-9AD4-E79BAEE7A7D8}">
      <dgm:prSet/>
      <dgm:spPr/>
      <dgm:t>
        <a:bodyPr/>
        <a:lstStyle/>
        <a:p>
          <a:endParaRPr lang="is-IS"/>
        </a:p>
      </dgm:t>
    </dgm:pt>
    <dgm:pt modelId="{C3D2D1E3-3DCC-4E06-9F08-1277915F6449}" type="sibTrans" cxnId="{42C36835-5827-4224-9AD4-E79BAEE7A7D8}">
      <dgm:prSet/>
      <dgm:spPr/>
      <dgm:t>
        <a:bodyPr/>
        <a:lstStyle/>
        <a:p>
          <a:endParaRPr lang="is-IS"/>
        </a:p>
      </dgm:t>
    </dgm:pt>
    <dgm:pt modelId="{C2F0188C-9396-4489-8CAA-6723F99E4C8E}">
      <dgm:prSet phldrT="[Text]"/>
      <dgm:spPr/>
      <dgm:t>
        <a:bodyPr/>
        <a:lstStyle/>
        <a:p>
          <a:r>
            <a:rPr lang="en-GB" dirty="0"/>
            <a:t>Singapore</a:t>
          </a:r>
          <a:endParaRPr lang="is-IS" dirty="0"/>
        </a:p>
      </dgm:t>
    </dgm:pt>
    <dgm:pt modelId="{E1F5C2D9-6225-4C12-A302-1C647EF0A30E}" type="parTrans" cxnId="{35FF5AA3-3B3E-4D5A-801B-277DEF8C149A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EB4366C3-A247-488A-8CE6-AA471C70B1E7}" type="sibTrans" cxnId="{35FF5AA3-3B3E-4D5A-801B-277DEF8C149A}">
      <dgm:prSet/>
      <dgm:spPr/>
      <dgm:t>
        <a:bodyPr/>
        <a:lstStyle/>
        <a:p>
          <a:endParaRPr lang="is-IS"/>
        </a:p>
      </dgm:t>
    </dgm:pt>
    <dgm:pt modelId="{B5F295AD-CEF3-47E9-A747-BD8C0A10CCA8}" type="pres">
      <dgm:prSet presAssocID="{BD1278F7-A04D-4475-9B22-A516B0233835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12932B7C-C921-4DBD-A3B0-88B083FB2740}" type="pres">
      <dgm:prSet presAssocID="{BD1278F7-A04D-4475-9B22-A516B0233835}" presName="hierFlow" presStyleCnt="0"/>
      <dgm:spPr/>
    </dgm:pt>
    <dgm:pt modelId="{FB9A37F7-91BF-4EAA-8A72-E8CCDF9DC2AD}" type="pres">
      <dgm:prSet presAssocID="{BD1278F7-A04D-4475-9B22-A516B0233835}" presName="firstBuf" presStyleCnt="0"/>
      <dgm:spPr/>
    </dgm:pt>
    <dgm:pt modelId="{EE482A59-79BF-45D4-9E7F-F7137C49019C}" type="pres">
      <dgm:prSet presAssocID="{BD1278F7-A04D-4475-9B22-A516B0233835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D84C12C-AE02-46BD-AA86-7562F16F90A1}" type="pres">
      <dgm:prSet presAssocID="{4271975F-AABC-45CA-84CF-000EE8932E7B}" presName="Name14" presStyleCnt="0"/>
      <dgm:spPr/>
    </dgm:pt>
    <dgm:pt modelId="{A857B52A-53D5-42F3-999D-E03DAAC9DAE4}" type="pres">
      <dgm:prSet presAssocID="{4271975F-AABC-45CA-84CF-000EE8932E7B}" presName="level1Shape" presStyleLbl="node0" presStyleIdx="0" presStyleCnt="1">
        <dgm:presLayoutVars>
          <dgm:chPref val="3"/>
        </dgm:presLayoutVars>
      </dgm:prSet>
      <dgm:spPr/>
    </dgm:pt>
    <dgm:pt modelId="{0626C906-9455-4F23-B02A-124072B8F86C}" type="pres">
      <dgm:prSet presAssocID="{4271975F-AABC-45CA-84CF-000EE8932E7B}" presName="hierChild2" presStyleCnt="0"/>
      <dgm:spPr/>
    </dgm:pt>
    <dgm:pt modelId="{34CB3969-FD6C-43E5-896D-77CEA1966F5F}" type="pres">
      <dgm:prSet presAssocID="{195B9CC4-E491-4DD1-B941-D88C928AAC07}" presName="Name19" presStyleLbl="parChTrans1D2" presStyleIdx="0" presStyleCnt="3"/>
      <dgm:spPr/>
    </dgm:pt>
    <dgm:pt modelId="{D9E2E12C-7E24-4A2C-AFBB-9F583E096BFD}" type="pres">
      <dgm:prSet presAssocID="{08E87FCB-A308-4B4F-8E47-8BB394B9D870}" presName="Name21" presStyleCnt="0"/>
      <dgm:spPr/>
    </dgm:pt>
    <dgm:pt modelId="{EA608336-D0D2-4F35-8D65-FB87992A34C9}" type="pres">
      <dgm:prSet presAssocID="{08E87FCB-A308-4B4F-8E47-8BB394B9D870}" presName="level2Shape" presStyleLbl="node2" presStyleIdx="0" presStyleCnt="3"/>
      <dgm:spPr/>
    </dgm:pt>
    <dgm:pt modelId="{0500081E-26A1-48ED-8803-853B441CB5E8}" type="pres">
      <dgm:prSet presAssocID="{08E87FCB-A308-4B4F-8E47-8BB394B9D870}" presName="hierChild3" presStyleCnt="0"/>
      <dgm:spPr/>
    </dgm:pt>
    <dgm:pt modelId="{053FA494-C162-424E-AAA8-C8617B39CB72}" type="pres">
      <dgm:prSet presAssocID="{3E865C7B-EB84-4083-B4AB-D9F9C0AB91CC}" presName="Name19" presStyleLbl="parChTrans1D3" presStyleIdx="0" presStyleCnt="2"/>
      <dgm:spPr/>
    </dgm:pt>
    <dgm:pt modelId="{3BA00680-1BF5-4F36-BB0D-44EFB92F8150}" type="pres">
      <dgm:prSet presAssocID="{A1A1D94A-E359-430D-B216-B987992CB6BD}" presName="Name21" presStyleCnt="0"/>
      <dgm:spPr/>
    </dgm:pt>
    <dgm:pt modelId="{B05527F4-375F-43E8-8880-17E81BCF2CB0}" type="pres">
      <dgm:prSet presAssocID="{A1A1D94A-E359-430D-B216-B987992CB6BD}" presName="level2Shape" presStyleLbl="node3" presStyleIdx="0" presStyleCnt="2"/>
      <dgm:spPr/>
    </dgm:pt>
    <dgm:pt modelId="{79A2723B-0585-4F93-92A6-0F1792F20145}" type="pres">
      <dgm:prSet presAssocID="{A1A1D94A-E359-430D-B216-B987992CB6BD}" presName="hierChild3" presStyleCnt="0"/>
      <dgm:spPr/>
    </dgm:pt>
    <dgm:pt modelId="{2D48816D-CBB8-4035-AFBE-CFC256337B0A}" type="pres">
      <dgm:prSet presAssocID="{CEFC5039-1661-41C1-8194-82DCD8B50375}" presName="Name19" presStyleLbl="parChTrans1D3" presStyleIdx="1" presStyleCnt="2"/>
      <dgm:spPr/>
    </dgm:pt>
    <dgm:pt modelId="{96057804-AB16-4DA6-8DF9-AAEDB10F08DC}" type="pres">
      <dgm:prSet presAssocID="{EEA852BC-B2CF-4939-9BAC-821185449E2C}" presName="Name21" presStyleCnt="0"/>
      <dgm:spPr/>
    </dgm:pt>
    <dgm:pt modelId="{49FB7788-C823-488F-9014-71A9C72E198B}" type="pres">
      <dgm:prSet presAssocID="{EEA852BC-B2CF-4939-9BAC-821185449E2C}" presName="level2Shape" presStyleLbl="node3" presStyleIdx="1" presStyleCnt="2"/>
      <dgm:spPr/>
    </dgm:pt>
    <dgm:pt modelId="{CB9BA887-6F0F-41C7-A9D9-8098EC1C9056}" type="pres">
      <dgm:prSet presAssocID="{EEA852BC-B2CF-4939-9BAC-821185449E2C}" presName="hierChild3" presStyleCnt="0"/>
      <dgm:spPr/>
    </dgm:pt>
    <dgm:pt modelId="{CB3831CF-6F47-4284-AA61-12F22CC419D2}" type="pres">
      <dgm:prSet presAssocID="{9710E577-41A6-4DE8-8530-A5429A8D27A2}" presName="Name19" presStyleLbl="parChTrans1D2" presStyleIdx="1" presStyleCnt="3"/>
      <dgm:spPr/>
    </dgm:pt>
    <dgm:pt modelId="{5A1D4EE7-4317-488A-A4B9-B9F27E0AE997}" type="pres">
      <dgm:prSet presAssocID="{CCAB3B6E-E28D-478E-9958-55EC2CA60A57}" presName="Name21" presStyleCnt="0"/>
      <dgm:spPr/>
    </dgm:pt>
    <dgm:pt modelId="{221EC696-6078-4475-A079-0CE98EC26626}" type="pres">
      <dgm:prSet presAssocID="{CCAB3B6E-E28D-478E-9958-55EC2CA60A57}" presName="level2Shape" presStyleLbl="node2" presStyleIdx="1" presStyleCnt="3"/>
      <dgm:spPr/>
    </dgm:pt>
    <dgm:pt modelId="{C8FE9571-6245-4AA2-8FA5-8E1479FCB158}" type="pres">
      <dgm:prSet presAssocID="{CCAB3B6E-E28D-478E-9958-55EC2CA60A57}" presName="hierChild3" presStyleCnt="0"/>
      <dgm:spPr/>
    </dgm:pt>
    <dgm:pt modelId="{9BA34840-2189-4CEB-9BDC-596430CB9063}" type="pres">
      <dgm:prSet presAssocID="{E1F5C2D9-6225-4C12-A302-1C647EF0A30E}" presName="Name19" presStyleLbl="parChTrans1D2" presStyleIdx="2" presStyleCnt="3"/>
      <dgm:spPr/>
    </dgm:pt>
    <dgm:pt modelId="{C3089333-4C26-4C81-A944-16D242D617AB}" type="pres">
      <dgm:prSet presAssocID="{C2F0188C-9396-4489-8CAA-6723F99E4C8E}" presName="Name21" presStyleCnt="0"/>
      <dgm:spPr/>
    </dgm:pt>
    <dgm:pt modelId="{E3BE76CF-4673-485C-A9E4-A9589459D0A5}" type="pres">
      <dgm:prSet presAssocID="{C2F0188C-9396-4489-8CAA-6723F99E4C8E}" presName="level2Shape" presStyleLbl="node2" presStyleIdx="2" presStyleCnt="3"/>
      <dgm:spPr/>
    </dgm:pt>
    <dgm:pt modelId="{8275A7BE-CE88-422E-A89A-57A9F898BDC3}" type="pres">
      <dgm:prSet presAssocID="{C2F0188C-9396-4489-8CAA-6723F99E4C8E}" presName="hierChild3" presStyleCnt="0"/>
      <dgm:spPr/>
    </dgm:pt>
    <dgm:pt modelId="{EF4CF697-02B9-42B8-9E36-6258B6298BAA}" type="pres">
      <dgm:prSet presAssocID="{BD1278F7-A04D-4475-9B22-A516B0233835}" presName="bgShapesFlow" presStyleCnt="0"/>
      <dgm:spPr/>
    </dgm:pt>
    <dgm:pt modelId="{626B7383-B785-471C-92DF-C5A55C839E8E}" type="pres">
      <dgm:prSet presAssocID="{F1D42D8F-57B6-400F-B278-DE9B7664CAD4}" presName="rectComp" presStyleCnt="0"/>
      <dgm:spPr/>
    </dgm:pt>
    <dgm:pt modelId="{9E4253D5-AB07-4166-A391-A91C82B6C39A}" type="pres">
      <dgm:prSet presAssocID="{F1D42D8F-57B6-400F-B278-DE9B7664CAD4}" presName="bgRect" presStyleLbl="bgShp" presStyleIdx="0" presStyleCnt="3"/>
      <dgm:spPr/>
    </dgm:pt>
    <dgm:pt modelId="{ED0E6DC9-437B-4296-AEB1-916E83462CE9}" type="pres">
      <dgm:prSet presAssocID="{F1D42D8F-57B6-400F-B278-DE9B7664CAD4}" presName="bgRectTx" presStyleLbl="bgShp" presStyleIdx="0" presStyleCnt="3">
        <dgm:presLayoutVars>
          <dgm:bulletEnabled val="1"/>
        </dgm:presLayoutVars>
      </dgm:prSet>
      <dgm:spPr/>
    </dgm:pt>
    <dgm:pt modelId="{B1A13C58-3125-4309-9C49-3655C0EB3452}" type="pres">
      <dgm:prSet presAssocID="{F1D42D8F-57B6-400F-B278-DE9B7664CAD4}" presName="spComp" presStyleCnt="0"/>
      <dgm:spPr/>
    </dgm:pt>
    <dgm:pt modelId="{D4EB0154-A319-45CF-A87E-7329086D2634}" type="pres">
      <dgm:prSet presAssocID="{F1D42D8F-57B6-400F-B278-DE9B7664CAD4}" presName="vSp" presStyleCnt="0"/>
      <dgm:spPr/>
    </dgm:pt>
    <dgm:pt modelId="{294CED34-45D9-41A8-92F2-8566734C0B07}" type="pres">
      <dgm:prSet presAssocID="{4A914034-5E0F-4876-AAA0-33DD1D8D307F}" presName="rectComp" presStyleCnt="0"/>
      <dgm:spPr/>
    </dgm:pt>
    <dgm:pt modelId="{8306433B-B1C2-4193-8818-C0E5096E7680}" type="pres">
      <dgm:prSet presAssocID="{4A914034-5E0F-4876-AAA0-33DD1D8D307F}" presName="bgRect" presStyleLbl="bgShp" presStyleIdx="1" presStyleCnt="3"/>
      <dgm:spPr/>
    </dgm:pt>
    <dgm:pt modelId="{48A94077-3BE9-4041-995E-C6BA815C6B25}" type="pres">
      <dgm:prSet presAssocID="{4A914034-5E0F-4876-AAA0-33DD1D8D307F}" presName="bgRectTx" presStyleLbl="bgShp" presStyleIdx="1" presStyleCnt="3">
        <dgm:presLayoutVars>
          <dgm:bulletEnabled val="1"/>
        </dgm:presLayoutVars>
      </dgm:prSet>
      <dgm:spPr/>
    </dgm:pt>
    <dgm:pt modelId="{8484CAFB-561A-4883-98C2-9421F9A671DE}" type="pres">
      <dgm:prSet presAssocID="{4A914034-5E0F-4876-AAA0-33DD1D8D307F}" presName="spComp" presStyleCnt="0"/>
      <dgm:spPr/>
    </dgm:pt>
    <dgm:pt modelId="{20C33FD6-C782-47A2-B34B-572A2E97ADFB}" type="pres">
      <dgm:prSet presAssocID="{4A914034-5E0F-4876-AAA0-33DD1D8D307F}" presName="vSp" presStyleCnt="0"/>
      <dgm:spPr/>
    </dgm:pt>
    <dgm:pt modelId="{85DC4903-4693-441B-92D8-330E4AB21044}" type="pres">
      <dgm:prSet presAssocID="{F0ADC1CA-8CA0-43BB-A3FB-F0AC89B8EA33}" presName="rectComp" presStyleCnt="0"/>
      <dgm:spPr/>
    </dgm:pt>
    <dgm:pt modelId="{4D68D4C6-76C2-4CA4-A8C3-C95C482DF0E9}" type="pres">
      <dgm:prSet presAssocID="{F0ADC1CA-8CA0-43BB-A3FB-F0AC89B8EA33}" presName="bgRect" presStyleLbl="bgShp" presStyleIdx="2" presStyleCnt="3"/>
      <dgm:spPr/>
    </dgm:pt>
    <dgm:pt modelId="{5B166E7F-61F9-4C6A-A62F-D1E284BD2DCB}" type="pres">
      <dgm:prSet presAssocID="{F0ADC1CA-8CA0-43BB-A3FB-F0AC89B8EA33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08E42F01-97D8-41DB-8B42-EA2545E04B5A}" type="presOf" srcId="{CEFC5039-1661-41C1-8194-82DCD8B50375}" destId="{2D48816D-CBB8-4035-AFBE-CFC256337B0A}" srcOrd="0" destOrd="0" presId="urn:microsoft.com/office/officeart/2005/8/layout/hierarchy6"/>
    <dgm:cxn modelId="{51EC2417-27E6-4B54-9831-E37315414DFF}" type="presOf" srcId="{EEA852BC-B2CF-4939-9BAC-821185449E2C}" destId="{49FB7788-C823-488F-9014-71A9C72E198B}" srcOrd="0" destOrd="0" presId="urn:microsoft.com/office/officeart/2005/8/layout/hierarchy6"/>
    <dgm:cxn modelId="{78913B27-C789-403D-A2C5-593397C4405E}" type="presOf" srcId="{195B9CC4-E491-4DD1-B941-D88C928AAC07}" destId="{34CB3969-FD6C-43E5-896D-77CEA1966F5F}" srcOrd="0" destOrd="0" presId="urn:microsoft.com/office/officeart/2005/8/layout/hierarchy6"/>
    <dgm:cxn modelId="{353BFA2D-EDBC-4A2C-8FC9-2ED920B98371}" type="presOf" srcId="{A1A1D94A-E359-430D-B216-B987992CB6BD}" destId="{B05527F4-375F-43E8-8880-17E81BCF2CB0}" srcOrd="0" destOrd="0" presId="urn:microsoft.com/office/officeart/2005/8/layout/hierarchy6"/>
    <dgm:cxn modelId="{42C36835-5827-4224-9AD4-E79BAEE7A7D8}" srcId="{BD1278F7-A04D-4475-9B22-A516B0233835}" destId="{F0ADC1CA-8CA0-43BB-A3FB-F0AC89B8EA33}" srcOrd="3" destOrd="0" parTransId="{08F0EEEE-0570-4659-A4EC-20DAE43AF49F}" sibTransId="{C3D2D1E3-3DCC-4E06-9F08-1277915F6449}"/>
    <dgm:cxn modelId="{24AE943A-4940-44D0-881D-CD82F8AC1E1B}" srcId="{BD1278F7-A04D-4475-9B22-A516B0233835}" destId="{4A914034-5E0F-4876-AAA0-33DD1D8D307F}" srcOrd="2" destOrd="0" parTransId="{73D8D2B1-2191-48B3-B1F1-90F29C2AF920}" sibTransId="{E2B73278-6752-4449-8555-876C9A0A170A}"/>
    <dgm:cxn modelId="{00E9923C-B95F-47F0-8C4E-C9242040C2DA}" type="presOf" srcId="{3E865C7B-EB84-4083-B4AB-D9F9C0AB91CC}" destId="{053FA494-C162-424E-AAA8-C8617B39CB72}" srcOrd="0" destOrd="0" presId="urn:microsoft.com/office/officeart/2005/8/layout/hierarchy6"/>
    <dgm:cxn modelId="{19985944-2D47-44F9-B2CA-422C652BDA97}" type="presOf" srcId="{F1D42D8F-57B6-400F-B278-DE9B7664CAD4}" destId="{ED0E6DC9-437B-4296-AEB1-916E83462CE9}" srcOrd="1" destOrd="0" presId="urn:microsoft.com/office/officeart/2005/8/layout/hierarchy6"/>
    <dgm:cxn modelId="{CAD8D966-B6B7-40B4-ABA4-F035FA253C06}" type="presOf" srcId="{F0ADC1CA-8CA0-43BB-A3FB-F0AC89B8EA33}" destId="{5B166E7F-61F9-4C6A-A62F-D1E284BD2DCB}" srcOrd="1" destOrd="0" presId="urn:microsoft.com/office/officeart/2005/8/layout/hierarchy6"/>
    <dgm:cxn modelId="{76E9636E-BC0B-4AB9-A203-2C23226BD11F}" srcId="{BD1278F7-A04D-4475-9B22-A516B0233835}" destId="{4271975F-AABC-45CA-84CF-000EE8932E7B}" srcOrd="0" destOrd="0" parTransId="{0F90A23A-EBF2-41C7-BB9C-067A8A829A03}" sibTransId="{1BD5B31C-F069-4799-8017-2BBEE103449E}"/>
    <dgm:cxn modelId="{196B544E-36E1-4C19-B288-C89B52F3C2A9}" type="presOf" srcId="{08E87FCB-A308-4B4F-8E47-8BB394B9D870}" destId="{EA608336-D0D2-4F35-8D65-FB87992A34C9}" srcOrd="0" destOrd="0" presId="urn:microsoft.com/office/officeart/2005/8/layout/hierarchy6"/>
    <dgm:cxn modelId="{6E3D344F-732B-4953-9551-852EB7DF0EB8}" type="presOf" srcId="{F1D42D8F-57B6-400F-B278-DE9B7664CAD4}" destId="{9E4253D5-AB07-4166-A391-A91C82B6C39A}" srcOrd="0" destOrd="0" presId="urn:microsoft.com/office/officeart/2005/8/layout/hierarchy6"/>
    <dgm:cxn modelId="{D40D376F-938E-4926-A8D0-D89F4A6256E3}" srcId="{08E87FCB-A308-4B4F-8E47-8BB394B9D870}" destId="{EEA852BC-B2CF-4939-9BAC-821185449E2C}" srcOrd="1" destOrd="0" parTransId="{CEFC5039-1661-41C1-8194-82DCD8B50375}" sibTransId="{6FA3C847-8206-40A4-8F6A-5F74990F71AF}"/>
    <dgm:cxn modelId="{3990C179-AD2C-40D5-91DF-C86F1D44695D}" srcId="{08E87FCB-A308-4B4F-8E47-8BB394B9D870}" destId="{A1A1D94A-E359-430D-B216-B987992CB6BD}" srcOrd="0" destOrd="0" parTransId="{3E865C7B-EB84-4083-B4AB-D9F9C0AB91CC}" sibTransId="{26765869-F214-4FC6-8E35-EEE23A15E97F}"/>
    <dgm:cxn modelId="{15EB8F5A-0184-476E-BF7F-6A230B6AC875}" type="presOf" srcId="{4A914034-5E0F-4876-AAA0-33DD1D8D307F}" destId="{8306433B-B1C2-4193-8818-C0E5096E7680}" srcOrd="0" destOrd="0" presId="urn:microsoft.com/office/officeart/2005/8/layout/hierarchy6"/>
    <dgm:cxn modelId="{8C74DC86-CAC5-438A-9193-291709CA5639}" type="presOf" srcId="{F0ADC1CA-8CA0-43BB-A3FB-F0AC89B8EA33}" destId="{4D68D4C6-76C2-4CA4-A8C3-C95C482DF0E9}" srcOrd="0" destOrd="0" presId="urn:microsoft.com/office/officeart/2005/8/layout/hierarchy6"/>
    <dgm:cxn modelId="{74A93395-C4AD-45AA-BD88-2165E8310A55}" type="presOf" srcId="{9710E577-41A6-4DE8-8530-A5429A8D27A2}" destId="{CB3831CF-6F47-4284-AA61-12F22CC419D2}" srcOrd="0" destOrd="0" presId="urn:microsoft.com/office/officeart/2005/8/layout/hierarchy6"/>
    <dgm:cxn modelId="{2A8869A0-A1FD-43C2-B10E-873A56398542}" type="presOf" srcId="{4271975F-AABC-45CA-84CF-000EE8932E7B}" destId="{A857B52A-53D5-42F3-999D-E03DAAC9DAE4}" srcOrd="0" destOrd="0" presId="urn:microsoft.com/office/officeart/2005/8/layout/hierarchy6"/>
    <dgm:cxn modelId="{35FF5AA3-3B3E-4D5A-801B-277DEF8C149A}" srcId="{4271975F-AABC-45CA-84CF-000EE8932E7B}" destId="{C2F0188C-9396-4489-8CAA-6723F99E4C8E}" srcOrd="2" destOrd="0" parTransId="{E1F5C2D9-6225-4C12-A302-1C647EF0A30E}" sibTransId="{EB4366C3-A247-488A-8CE6-AA471C70B1E7}"/>
    <dgm:cxn modelId="{937E21AB-91E8-4860-B361-4AC0E3D8CB3D}" type="presOf" srcId="{E1F5C2D9-6225-4C12-A302-1C647EF0A30E}" destId="{9BA34840-2189-4CEB-9BDC-596430CB9063}" srcOrd="0" destOrd="0" presId="urn:microsoft.com/office/officeart/2005/8/layout/hierarchy6"/>
    <dgm:cxn modelId="{330355AD-C09B-4B66-9107-45B84C28FFD9}" type="presOf" srcId="{BD1278F7-A04D-4475-9B22-A516B0233835}" destId="{B5F295AD-CEF3-47E9-A747-BD8C0A10CCA8}" srcOrd="0" destOrd="0" presId="urn:microsoft.com/office/officeart/2005/8/layout/hierarchy6"/>
    <dgm:cxn modelId="{323F5BC3-ED06-4946-8DB1-E27AB19352A1}" type="presOf" srcId="{4A914034-5E0F-4876-AAA0-33DD1D8D307F}" destId="{48A94077-3BE9-4041-995E-C6BA815C6B25}" srcOrd="1" destOrd="0" presId="urn:microsoft.com/office/officeart/2005/8/layout/hierarchy6"/>
    <dgm:cxn modelId="{55CC94C8-2410-40ED-9AD9-00C2F43792B6}" srcId="{4271975F-AABC-45CA-84CF-000EE8932E7B}" destId="{08E87FCB-A308-4B4F-8E47-8BB394B9D870}" srcOrd="0" destOrd="0" parTransId="{195B9CC4-E491-4DD1-B941-D88C928AAC07}" sibTransId="{11F4FFBA-F857-4A88-B541-B858E10CB705}"/>
    <dgm:cxn modelId="{C9EC68CE-D23E-4AF2-BA9C-357CAEBDE536}" srcId="{4271975F-AABC-45CA-84CF-000EE8932E7B}" destId="{CCAB3B6E-E28D-478E-9958-55EC2CA60A57}" srcOrd="1" destOrd="0" parTransId="{9710E577-41A6-4DE8-8530-A5429A8D27A2}" sibTransId="{2E9EEEFB-9004-4C3D-ABB1-02BBD3E16456}"/>
    <dgm:cxn modelId="{B1FEA1EB-96C8-4EC7-9269-24DF2BF28CEF}" srcId="{BD1278F7-A04D-4475-9B22-A516B0233835}" destId="{F1D42D8F-57B6-400F-B278-DE9B7664CAD4}" srcOrd="1" destOrd="0" parTransId="{38AF3D0C-4A06-4201-A837-1D3CDAE5139A}" sibTransId="{C24ED4BF-C344-45E5-9ECD-70FAAD170B46}"/>
    <dgm:cxn modelId="{A188AEF0-C3A9-405A-87CA-6C75B044D120}" type="presOf" srcId="{CCAB3B6E-E28D-478E-9958-55EC2CA60A57}" destId="{221EC696-6078-4475-A079-0CE98EC26626}" srcOrd="0" destOrd="0" presId="urn:microsoft.com/office/officeart/2005/8/layout/hierarchy6"/>
    <dgm:cxn modelId="{1BDC29F1-ED2B-49BD-817C-EF7C8BF5ADBE}" type="presOf" srcId="{C2F0188C-9396-4489-8CAA-6723F99E4C8E}" destId="{E3BE76CF-4673-485C-A9E4-A9589459D0A5}" srcOrd="0" destOrd="0" presId="urn:microsoft.com/office/officeart/2005/8/layout/hierarchy6"/>
    <dgm:cxn modelId="{FA6AB4CA-B7D9-4B1A-B6AD-C39853F64B4A}" type="presParOf" srcId="{B5F295AD-CEF3-47E9-A747-BD8C0A10CCA8}" destId="{12932B7C-C921-4DBD-A3B0-88B083FB2740}" srcOrd="0" destOrd="0" presId="urn:microsoft.com/office/officeart/2005/8/layout/hierarchy6"/>
    <dgm:cxn modelId="{FF6BF68A-829A-41E3-A946-439A454B98A9}" type="presParOf" srcId="{12932B7C-C921-4DBD-A3B0-88B083FB2740}" destId="{FB9A37F7-91BF-4EAA-8A72-E8CCDF9DC2AD}" srcOrd="0" destOrd="0" presId="urn:microsoft.com/office/officeart/2005/8/layout/hierarchy6"/>
    <dgm:cxn modelId="{86996586-83BA-41EA-8F9E-FB3BCEB4FA11}" type="presParOf" srcId="{12932B7C-C921-4DBD-A3B0-88B083FB2740}" destId="{EE482A59-79BF-45D4-9E7F-F7137C49019C}" srcOrd="1" destOrd="0" presId="urn:microsoft.com/office/officeart/2005/8/layout/hierarchy6"/>
    <dgm:cxn modelId="{EC208C46-8BB6-437D-AD23-41E2B430A859}" type="presParOf" srcId="{EE482A59-79BF-45D4-9E7F-F7137C49019C}" destId="{1D84C12C-AE02-46BD-AA86-7562F16F90A1}" srcOrd="0" destOrd="0" presId="urn:microsoft.com/office/officeart/2005/8/layout/hierarchy6"/>
    <dgm:cxn modelId="{C542ABE0-2CFC-4B80-B775-6B3BD03226D9}" type="presParOf" srcId="{1D84C12C-AE02-46BD-AA86-7562F16F90A1}" destId="{A857B52A-53D5-42F3-999D-E03DAAC9DAE4}" srcOrd="0" destOrd="0" presId="urn:microsoft.com/office/officeart/2005/8/layout/hierarchy6"/>
    <dgm:cxn modelId="{4DC1F1BB-1223-48B4-B61A-644225971F24}" type="presParOf" srcId="{1D84C12C-AE02-46BD-AA86-7562F16F90A1}" destId="{0626C906-9455-4F23-B02A-124072B8F86C}" srcOrd="1" destOrd="0" presId="urn:microsoft.com/office/officeart/2005/8/layout/hierarchy6"/>
    <dgm:cxn modelId="{A4E3E262-FF43-4E24-82DD-11F2E22DCB6A}" type="presParOf" srcId="{0626C906-9455-4F23-B02A-124072B8F86C}" destId="{34CB3969-FD6C-43E5-896D-77CEA1966F5F}" srcOrd="0" destOrd="0" presId="urn:microsoft.com/office/officeart/2005/8/layout/hierarchy6"/>
    <dgm:cxn modelId="{DA9DE0B7-EBF7-447B-9AAF-CF70E91144DA}" type="presParOf" srcId="{0626C906-9455-4F23-B02A-124072B8F86C}" destId="{D9E2E12C-7E24-4A2C-AFBB-9F583E096BFD}" srcOrd="1" destOrd="0" presId="urn:microsoft.com/office/officeart/2005/8/layout/hierarchy6"/>
    <dgm:cxn modelId="{A9A145B7-6B3D-4DBD-B12C-00FC4538110C}" type="presParOf" srcId="{D9E2E12C-7E24-4A2C-AFBB-9F583E096BFD}" destId="{EA608336-D0D2-4F35-8D65-FB87992A34C9}" srcOrd="0" destOrd="0" presId="urn:microsoft.com/office/officeart/2005/8/layout/hierarchy6"/>
    <dgm:cxn modelId="{B3D92125-7AEC-4476-B405-284AD5AE1CC0}" type="presParOf" srcId="{D9E2E12C-7E24-4A2C-AFBB-9F583E096BFD}" destId="{0500081E-26A1-48ED-8803-853B441CB5E8}" srcOrd="1" destOrd="0" presId="urn:microsoft.com/office/officeart/2005/8/layout/hierarchy6"/>
    <dgm:cxn modelId="{558B4FCA-477C-4396-B229-34C2AB926A67}" type="presParOf" srcId="{0500081E-26A1-48ED-8803-853B441CB5E8}" destId="{053FA494-C162-424E-AAA8-C8617B39CB72}" srcOrd="0" destOrd="0" presId="urn:microsoft.com/office/officeart/2005/8/layout/hierarchy6"/>
    <dgm:cxn modelId="{B60BAC68-A495-4341-B480-A40F16193764}" type="presParOf" srcId="{0500081E-26A1-48ED-8803-853B441CB5E8}" destId="{3BA00680-1BF5-4F36-BB0D-44EFB92F8150}" srcOrd="1" destOrd="0" presId="urn:microsoft.com/office/officeart/2005/8/layout/hierarchy6"/>
    <dgm:cxn modelId="{1306E4D2-0E79-4354-BF6F-B2A5BBE7A6A6}" type="presParOf" srcId="{3BA00680-1BF5-4F36-BB0D-44EFB92F8150}" destId="{B05527F4-375F-43E8-8880-17E81BCF2CB0}" srcOrd="0" destOrd="0" presId="urn:microsoft.com/office/officeart/2005/8/layout/hierarchy6"/>
    <dgm:cxn modelId="{9FD9CF95-60DF-4462-A6A4-6F74970077A7}" type="presParOf" srcId="{3BA00680-1BF5-4F36-BB0D-44EFB92F8150}" destId="{79A2723B-0585-4F93-92A6-0F1792F20145}" srcOrd="1" destOrd="0" presId="urn:microsoft.com/office/officeart/2005/8/layout/hierarchy6"/>
    <dgm:cxn modelId="{4CF687F0-89FC-40D4-B9C0-BF5101856E6B}" type="presParOf" srcId="{0500081E-26A1-48ED-8803-853B441CB5E8}" destId="{2D48816D-CBB8-4035-AFBE-CFC256337B0A}" srcOrd="2" destOrd="0" presId="urn:microsoft.com/office/officeart/2005/8/layout/hierarchy6"/>
    <dgm:cxn modelId="{24E9D696-F187-47FD-A18A-1AEC598D98EA}" type="presParOf" srcId="{0500081E-26A1-48ED-8803-853B441CB5E8}" destId="{96057804-AB16-4DA6-8DF9-AAEDB10F08DC}" srcOrd="3" destOrd="0" presId="urn:microsoft.com/office/officeart/2005/8/layout/hierarchy6"/>
    <dgm:cxn modelId="{3D9D9563-9507-425D-A851-14089CC3D616}" type="presParOf" srcId="{96057804-AB16-4DA6-8DF9-AAEDB10F08DC}" destId="{49FB7788-C823-488F-9014-71A9C72E198B}" srcOrd="0" destOrd="0" presId="urn:microsoft.com/office/officeart/2005/8/layout/hierarchy6"/>
    <dgm:cxn modelId="{9C29BED2-5196-4D47-8EC5-10D8BE72E267}" type="presParOf" srcId="{96057804-AB16-4DA6-8DF9-AAEDB10F08DC}" destId="{CB9BA887-6F0F-41C7-A9D9-8098EC1C9056}" srcOrd="1" destOrd="0" presId="urn:microsoft.com/office/officeart/2005/8/layout/hierarchy6"/>
    <dgm:cxn modelId="{35F63FF8-1519-4A85-87D5-C9DC27B8C923}" type="presParOf" srcId="{0626C906-9455-4F23-B02A-124072B8F86C}" destId="{CB3831CF-6F47-4284-AA61-12F22CC419D2}" srcOrd="2" destOrd="0" presId="urn:microsoft.com/office/officeart/2005/8/layout/hierarchy6"/>
    <dgm:cxn modelId="{6862E371-3F23-46C4-8ABA-0C7F9BE9A051}" type="presParOf" srcId="{0626C906-9455-4F23-B02A-124072B8F86C}" destId="{5A1D4EE7-4317-488A-A4B9-B9F27E0AE997}" srcOrd="3" destOrd="0" presId="urn:microsoft.com/office/officeart/2005/8/layout/hierarchy6"/>
    <dgm:cxn modelId="{8E7F3341-B8D6-4A2F-8D3E-9F3586243C6E}" type="presParOf" srcId="{5A1D4EE7-4317-488A-A4B9-B9F27E0AE997}" destId="{221EC696-6078-4475-A079-0CE98EC26626}" srcOrd="0" destOrd="0" presId="urn:microsoft.com/office/officeart/2005/8/layout/hierarchy6"/>
    <dgm:cxn modelId="{F59B49E2-5F21-4BE8-8585-843705BFDA6F}" type="presParOf" srcId="{5A1D4EE7-4317-488A-A4B9-B9F27E0AE997}" destId="{C8FE9571-6245-4AA2-8FA5-8E1479FCB158}" srcOrd="1" destOrd="0" presId="urn:microsoft.com/office/officeart/2005/8/layout/hierarchy6"/>
    <dgm:cxn modelId="{1BFBE0E4-1A1F-4BE9-8FE3-69CF202C9F01}" type="presParOf" srcId="{0626C906-9455-4F23-B02A-124072B8F86C}" destId="{9BA34840-2189-4CEB-9BDC-596430CB9063}" srcOrd="4" destOrd="0" presId="urn:microsoft.com/office/officeart/2005/8/layout/hierarchy6"/>
    <dgm:cxn modelId="{4F036450-A788-4B1B-94F1-0DB59ADCDD6B}" type="presParOf" srcId="{0626C906-9455-4F23-B02A-124072B8F86C}" destId="{C3089333-4C26-4C81-A944-16D242D617AB}" srcOrd="5" destOrd="0" presId="urn:microsoft.com/office/officeart/2005/8/layout/hierarchy6"/>
    <dgm:cxn modelId="{6068051D-2AF9-465C-8328-05C11811603B}" type="presParOf" srcId="{C3089333-4C26-4C81-A944-16D242D617AB}" destId="{E3BE76CF-4673-485C-A9E4-A9589459D0A5}" srcOrd="0" destOrd="0" presId="urn:microsoft.com/office/officeart/2005/8/layout/hierarchy6"/>
    <dgm:cxn modelId="{8E5EF61C-2AED-40CB-BF1D-9DCD7B901662}" type="presParOf" srcId="{C3089333-4C26-4C81-A944-16D242D617AB}" destId="{8275A7BE-CE88-422E-A89A-57A9F898BDC3}" srcOrd="1" destOrd="0" presId="urn:microsoft.com/office/officeart/2005/8/layout/hierarchy6"/>
    <dgm:cxn modelId="{813957CE-8814-48FC-A54E-378BDF0F68B2}" type="presParOf" srcId="{B5F295AD-CEF3-47E9-A747-BD8C0A10CCA8}" destId="{EF4CF697-02B9-42B8-9E36-6258B6298BAA}" srcOrd="1" destOrd="0" presId="urn:microsoft.com/office/officeart/2005/8/layout/hierarchy6"/>
    <dgm:cxn modelId="{842654A6-3207-4252-B165-2BB4D7CBCB4B}" type="presParOf" srcId="{EF4CF697-02B9-42B8-9E36-6258B6298BAA}" destId="{626B7383-B785-471C-92DF-C5A55C839E8E}" srcOrd="0" destOrd="0" presId="urn:microsoft.com/office/officeart/2005/8/layout/hierarchy6"/>
    <dgm:cxn modelId="{8AD92416-53B5-44C6-A5B6-054B09834495}" type="presParOf" srcId="{626B7383-B785-471C-92DF-C5A55C839E8E}" destId="{9E4253D5-AB07-4166-A391-A91C82B6C39A}" srcOrd="0" destOrd="0" presId="urn:microsoft.com/office/officeart/2005/8/layout/hierarchy6"/>
    <dgm:cxn modelId="{569A78A1-94CA-4F53-80C0-AE3979C5A8DA}" type="presParOf" srcId="{626B7383-B785-471C-92DF-C5A55C839E8E}" destId="{ED0E6DC9-437B-4296-AEB1-916E83462CE9}" srcOrd="1" destOrd="0" presId="urn:microsoft.com/office/officeart/2005/8/layout/hierarchy6"/>
    <dgm:cxn modelId="{675C3597-C57B-48A9-8C46-A96781190087}" type="presParOf" srcId="{EF4CF697-02B9-42B8-9E36-6258B6298BAA}" destId="{B1A13C58-3125-4309-9C49-3655C0EB3452}" srcOrd="1" destOrd="0" presId="urn:microsoft.com/office/officeart/2005/8/layout/hierarchy6"/>
    <dgm:cxn modelId="{69126AF4-1890-4D20-B521-246566D6B759}" type="presParOf" srcId="{B1A13C58-3125-4309-9C49-3655C0EB3452}" destId="{D4EB0154-A319-45CF-A87E-7329086D2634}" srcOrd="0" destOrd="0" presId="urn:microsoft.com/office/officeart/2005/8/layout/hierarchy6"/>
    <dgm:cxn modelId="{3FD855BD-597C-4C6D-8982-4AEF4F73C9AB}" type="presParOf" srcId="{EF4CF697-02B9-42B8-9E36-6258B6298BAA}" destId="{294CED34-45D9-41A8-92F2-8566734C0B07}" srcOrd="2" destOrd="0" presId="urn:microsoft.com/office/officeart/2005/8/layout/hierarchy6"/>
    <dgm:cxn modelId="{89469092-B3F0-4C0F-BE7D-AF2FFD3DB1F2}" type="presParOf" srcId="{294CED34-45D9-41A8-92F2-8566734C0B07}" destId="{8306433B-B1C2-4193-8818-C0E5096E7680}" srcOrd="0" destOrd="0" presId="urn:microsoft.com/office/officeart/2005/8/layout/hierarchy6"/>
    <dgm:cxn modelId="{93EECD98-4673-49E6-B779-B4B7075B10BB}" type="presParOf" srcId="{294CED34-45D9-41A8-92F2-8566734C0B07}" destId="{48A94077-3BE9-4041-995E-C6BA815C6B25}" srcOrd="1" destOrd="0" presId="urn:microsoft.com/office/officeart/2005/8/layout/hierarchy6"/>
    <dgm:cxn modelId="{5D66911E-A69E-4339-8B8B-CE466308C344}" type="presParOf" srcId="{EF4CF697-02B9-42B8-9E36-6258B6298BAA}" destId="{8484CAFB-561A-4883-98C2-9421F9A671DE}" srcOrd="3" destOrd="0" presId="urn:microsoft.com/office/officeart/2005/8/layout/hierarchy6"/>
    <dgm:cxn modelId="{8BC4739C-D767-45B4-A89A-8991EB21EA13}" type="presParOf" srcId="{8484CAFB-561A-4883-98C2-9421F9A671DE}" destId="{20C33FD6-C782-47A2-B34B-572A2E97ADFB}" srcOrd="0" destOrd="0" presId="urn:microsoft.com/office/officeart/2005/8/layout/hierarchy6"/>
    <dgm:cxn modelId="{90BCCBA0-4D23-4D5A-B964-CAC490FC8755}" type="presParOf" srcId="{EF4CF697-02B9-42B8-9E36-6258B6298BAA}" destId="{85DC4903-4693-441B-92D8-330E4AB21044}" srcOrd="4" destOrd="0" presId="urn:microsoft.com/office/officeart/2005/8/layout/hierarchy6"/>
    <dgm:cxn modelId="{24E11AA3-15E6-4D92-B546-044C9982A487}" type="presParOf" srcId="{85DC4903-4693-441B-92D8-330E4AB21044}" destId="{4D68D4C6-76C2-4CA4-A8C3-C95C482DF0E9}" srcOrd="0" destOrd="0" presId="urn:microsoft.com/office/officeart/2005/8/layout/hierarchy6"/>
    <dgm:cxn modelId="{8845B34C-8A31-4C33-9156-19C8A826933C}" type="presParOf" srcId="{85DC4903-4693-441B-92D8-330E4AB21044}" destId="{5B166E7F-61F9-4C6A-A62F-D1E284BD2DCB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68D4C6-76C2-4CA4-A8C3-C95C482DF0E9}">
      <dsp:nvSpPr>
        <dsp:cNvPr id="0" name=""/>
        <dsp:cNvSpPr/>
      </dsp:nvSpPr>
      <dsp:spPr>
        <a:xfrm>
          <a:off x="0" y="3046033"/>
          <a:ext cx="10515600" cy="130394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100" kern="1200" dirty="0"/>
            <a:t>Implementation specific</a:t>
          </a:r>
          <a:endParaRPr lang="is-IS" sz="3100" kern="1200" dirty="0"/>
        </a:p>
      </dsp:txBody>
      <dsp:txXfrm>
        <a:off x="0" y="3046033"/>
        <a:ext cx="3154680" cy="1303949"/>
      </dsp:txXfrm>
    </dsp:sp>
    <dsp:sp modelId="{8306433B-B1C2-4193-8818-C0E5096E7680}">
      <dsp:nvSpPr>
        <dsp:cNvPr id="0" name=""/>
        <dsp:cNvSpPr/>
      </dsp:nvSpPr>
      <dsp:spPr>
        <a:xfrm>
          <a:off x="0" y="1523694"/>
          <a:ext cx="10515600" cy="130394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100" kern="1200" dirty="0"/>
            <a:t>Invoice domain specifications</a:t>
          </a:r>
          <a:endParaRPr lang="is-IS" sz="3100" kern="1200" dirty="0"/>
        </a:p>
      </dsp:txBody>
      <dsp:txXfrm>
        <a:off x="0" y="1523694"/>
        <a:ext cx="3154680" cy="1303949"/>
      </dsp:txXfrm>
    </dsp:sp>
    <dsp:sp modelId="{9E4253D5-AB07-4166-A391-A91C82B6C39A}">
      <dsp:nvSpPr>
        <dsp:cNvPr id="0" name=""/>
        <dsp:cNvSpPr/>
      </dsp:nvSpPr>
      <dsp:spPr>
        <a:xfrm>
          <a:off x="0" y="1354"/>
          <a:ext cx="10515600" cy="130394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100" kern="1200" dirty="0"/>
            <a:t>International model</a:t>
          </a:r>
          <a:endParaRPr lang="is-IS" sz="3100" kern="1200" dirty="0"/>
        </a:p>
      </dsp:txBody>
      <dsp:txXfrm>
        <a:off x="0" y="1354"/>
        <a:ext cx="3154680" cy="1303949"/>
      </dsp:txXfrm>
    </dsp:sp>
    <dsp:sp modelId="{A857B52A-53D5-42F3-999D-E03DAAC9DAE4}">
      <dsp:nvSpPr>
        <dsp:cNvPr id="0" name=""/>
        <dsp:cNvSpPr/>
      </dsp:nvSpPr>
      <dsp:spPr>
        <a:xfrm>
          <a:off x="6443346" y="110550"/>
          <a:ext cx="1637927" cy="1091951"/>
        </a:xfrm>
        <a:prstGeom prst="roundRect">
          <a:avLst>
            <a:gd name="adj" fmla="val 10000"/>
          </a:avLst>
        </a:prstGeom>
        <a:solidFill>
          <a:schemeClr val="tx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PEPPOL international invoice model</a:t>
          </a:r>
          <a:endParaRPr lang="is-IS" sz="1800" kern="1200" dirty="0"/>
        </a:p>
      </dsp:txBody>
      <dsp:txXfrm>
        <a:off x="6475328" y="142532"/>
        <a:ext cx="1573963" cy="1027987"/>
      </dsp:txXfrm>
    </dsp:sp>
    <dsp:sp modelId="{34CB3969-FD6C-43E5-896D-77CEA1966F5F}">
      <dsp:nvSpPr>
        <dsp:cNvPr id="0" name=""/>
        <dsp:cNvSpPr/>
      </dsp:nvSpPr>
      <dsp:spPr>
        <a:xfrm>
          <a:off x="5133004" y="1202501"/>
          <a:ext cx="2129306" cy="436780"/>
        </a:xfrm>
        <a:custGeom>
          <a:avLst/>
          <a:gdLst/>
          <a:ahLst/>
          <a:cxnLst/>
          <a:rect l="0" t="0" r="0" b="0"/>
          <a:pathLst>
            <a:path>
              <a:moveTo>
                <a:pt x="2129306" y="0"/>
              </a:moveTo>
              <a:lnTo>
                <a:pt x="2129306" y="218390"/>
              </a:lnTo>
              <a:lnTo>
                <a:pt x="0" y="218390"/>
              </a:lnTo>
              <a:lnTo>
                <a:pt x="0" y="436780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608336-D0D2-4F35-8D65-FB87992A34C9}">
      <dsp:nvSpPr>
        <dsp:cNvPr id="0" name=""/>
        <dsp:cNvSpPr/>
      </dsp:nvSpPr>
      <dsp:spPr>
        <a:xfrm>
          <a:off x="4314040" y="1639282"/>
          <a:ext cx="1637927" cy="1091951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EN 16931</a:t>
          </a:r>
          <a:endParaRPr lang="is-IS" sz="1800" kern="1200" dirty="0"/>
        </a:p>
      </dsp:txBody>
      <dsp:txXfrm>
        <a:off x="4346022" y="1671264"/>
        <a:ext cx="1573963" cy="1027987"/>
      </dsp:txXfrm>
    </dsp:sp>
    <dsp:sp modelId="{053FA494-C162-424E-AAA8-C8617B39CB72}">
      <dsp:nvSpPr>
        <dsp:cNvPr id="0" name=""/>
        <dsp:cNvSpPr/>
      </dsp:nvSpPr>
      <dsp:spPr>
        <a:xfrm>
          <a:off x="4068351" y="2731234"/>
          <a:ext cx="1064653" cy="436780"/>
        </a:xfrm>
        <a:custGeom>
          <a:avLst/>
          <a:gdLst/>
          <a:ahLst/>
          <a:cxnLst/>
          <a:rect l="0" t="0" r="0" b="0"/>
          <a:pathLst>
            <a:path>
              <a:moveTo>
                <a:pt x="1064653" y="0"/>
              </a:moveTo>
              <a:lnTo>
                <a:pt x="1064653" y="218390"/>
              </a:lnTo>
              <a:lnTo>
                <a:pt x="0" y="218390"/>
              </a:lnTo>
              <a:lnTo>
                <a:pt x="0" y="436780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5527F4-375F-43E8-8880-17E81BCF2CB0}">
      <dsp:nvSpPr>
        <dsp:cNvPr id="0" name=""/>
        <dsp:cNvSpPr/>
      </dsp:nvSpPr>
      <dsp:spPr>
        <a:xfrm>
          <a:off x="3249387" y="3168015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PEPPOL BIS Billing 3.0</a:t>
          </a:r>
          <a:endParaRPr lang="is-IS" sz="1800" kern="1200" dirty="0"/>
        </a:p>
      </dsp:txBody>
      <dsp:txXfrm>
        <a:off x="3281369" y="3199997"/>
        <a:ext cx="1573963" cy="1027987"/>
      </dsp:txXfrm>
    </dsp:sp>
    <dsp:sp modelId="{2D48816D-CBB8-4035-AFBE-CFC256337B0A}">
      <dsp:nvSpPr>
        <dsp:cNvPr id="0" name=""/>
        <dsp:cNvSpPr/>
      </dsp:nvSpPr>
      <dsp:spPr>
        <a:xfrm>
          <a:off x="5133004" y="2731234"/>
          <a:ext cx="1064653" cy="436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390"/>
              </a:lnTo>
              <a:lnTo>
                <a:pt x="1064653" y="218390"/>
              </a:lnTo>
              <a:lnTo>
                <a:pt x="1064653" y="436780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FB7788-C823-488F-9014-71A9C72E198B}">
      <dsp:nvSpPr>
        <dsp:cNvPr id="0" name=""/>
        <dsp:cNvSpPr/>
      </dsp:nvSpPr>
      <dsp:spPr>
        <a:xfrm>
          <a:off x="5378693" y="3168015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Spanish </a:t>
          </a:r>
          <a:r>
            <a:rPr lang="en-GB" sz="1800" kern="1200" dirty="0" err="1"/>
            <a:t>facturae</a:t>
          </a:r>
          <a:endParaRPr lang="is-IS" sz="1800" kern="1200" dirty="0"/>
        </a:p>
      </dsp:txBody>
      <dsp:txXfrm>
        <a:off x="5410675" y="3199997"/>
        <a:ext cx="1573963" cy="1027987"/>
      </dsp:txXfrm>
    </dsp:sp>
    <dsp:sp modelId="{CB3831CF-6F47-4284-AA61-12F22CC419D2}">
      <dsp:nvSpPr>
        <dsp:cNvPr id="0" name=""/>
        <dsp:cNvSpPr/>
      </dsp:nvSpPr>
      <dsp:spPr>
        <a:xfrm>
          <a:off x="7216590" y="1202501"/>
          <a:ext cx="91440" cy="43678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6780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1EC696-6078-4475-A079-0CE98EC26626}">
      <dsp:nvSpPr>
        <dsp:cNvPr id="0" name=""/>
        <dsp:cNvSpPr/>
      </dsp:nvSpPr>
      <dsp:spPr>
        <a:xfrm>
          <a:off x="6443346" y="1639282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 err="1"/>
            <a:t>TransTasman</a:t>
          </a:r>
          <a:endParaRPr lang="is-IS" sz="1800" kern="1200" dirty="0"/>
        </a:p>
      </dsp:txBody>
      <dsp:txXfrm>
        <a:off x="6475328" y="1671264"/>
        <a:ext cx="1573963" cy="1027987"/>
      </dsp:txXfrm>
    </dsp:sp>
    <dsp:sp modelId="{9BA34840-2189-4CEB-9BDC-596430CB9063}">
      <dsp:nvSpPr>
        <dsp:cNvPr id="0" name=""/>
        <dsp:cNvSpPr/>
      </dsp:nvSpPr>
      <dsp:spPr>
        <a:xfrm>
          <a:off x="7262310" y="1202501"/>
          <a:ext cx="2129306" cy="436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390"/>
              </a:lnTo>
              <a:lnTo>
                <a:pt x="2129306" y="218390"/>
              </a:lnTo>
              <a:lnTo>
                <a:pt x="2129306" y="436780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BE76CF-4673-485C-A9E4-A9589459D0A5}">
      <dsp:nvSpPr>
        <dsp:cNvPr id="0" name=""/>
        <dsp:cNvSpPr/>
      </dsp:nvSpPr>
      <dsp:spPr>
        <a:xfrm>
          <a:off x="8572652" y="1639282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Singapore</a:t>
          </a:r>
          <a:endParaRPr lang="is-IS" sz="1800" kern="1200" dirty="0"/>
        </a:p>
      </dsp:txBody>
      <dsp:txXfrm>
        <a:off x="8604634" y="1671264"/>
        <a:ext cx="1573963" cy="10279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468E7B-91B5-8243-8144-A5FE216C8634}" type="datetimeFigureOut">
              <a:rPr lang="en-US" smtClean="0"/>
              <a:t>11/2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DE9371-2DDF-2841-B52C-AF59E9988F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68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765012" y="2796377"/>
            <a:ext cx="3918389" cy="126524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chemeClr val="bg1"/>
                </a:solidFill>
              </a:rPr>
              <a:t>www.peppol.eu</a:t>
            </a:r>
            <a:endParaRPr lang="en-GB" sz="1200" u="none" dirty="0">
              <a:solidFill>
                <a:schemeClr val="bg1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PEPPOL is owned by </a:t>
            </a:r>
            <a:r>
              <a:rPr lang="en-GB" sz="600" u="none" dirty="0" err="1">
                <a:solidFill>
                  <a:schemeClr val="bg1">
                    <a:alpha val="40000"/>
                  </a:schemeClr>
                </a:solidFill>
              </a:rPr>
              <a:t>OpenPeppol</a:t>
            </a:r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3204315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141656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59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778D66-CD32-8F4B-BC00-176C1E3DE6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678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4D5368E-8BB6-134E-81DA-5CF4EF87F3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773152" y="1469985"/>
            <a:ext cx="10613985" cy="5388014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58A2E87-725C-704B-A400-9AFF25B185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36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244102E-C22E-BE46-ADAD-5A7FFEA06DFD}"/>
              </a:ext>
            </a:extLst>
          </p:cNvPr>
          <p:cNvSpPr/>
          <p:nvPr userDrawn="1"/>
        </p:nvSpPr>
        <p:spPr>
          <a:xfrm>
            <a:off x="6274040" y="2014396"/>
            <a:ext cx="5113097" cy="4312259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5" y="2014539"/>
            <a:ext cx="5113097" cy="4312116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85E4-A6C1-C743-AB56-4C134CA17F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2207741"/>
            <a:ext cx="4413250" cy="3888259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BB382-0E43-254D-AF06-EC9A555C68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18968" y="2207741"/>
            <a:ext cx="4413250" cy="3888259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5960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 With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6" y="2941117"/>
            <a:ext cx="3285596" cy="2861953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E46302-BFBE-A44A-BEA7-F2E070161390}"/>
              </a:ext>
            </a:extLst>
          </p:cNvPr>
          <p:cNvSpPr/>
          <p:nvPr userDrawn="1"/>
        </p:nvSpPr>
        <p:spPr>
          <a:xfrm>
            <a:off x="4453202" y="2941117"/>
            <a:ext cx="3285596" cy="2861953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7E68EF7-8E9B-604E-A002-6DA88D4B5844}"/>
              </a:ext>
            </a:extLst>
          </p:cNvPr>
          <p:cNvSpPr/>
          <p:nvPr userDrawn="1"/>
        </p:nvSpPr>
        <p:spPr>
          <a:xfrm>
            <a:off x="8101759" y="2941117"/>
            <a:ext cx="3285596" cy="2861953"/>
          </a:xfrm>
          <a:prstGeom prst="rect">
            <a:avLst/>
          </a:prstGeom>
          <a:solidFill>
            <a:srgbClr val="00326D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A74456-E8B8-CA46-8A56-B65AED980E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3181350"/>
            <a:ext cx="2502382" cy="2317750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A6ABCC-1C55-6C45-B30C-D8BECE62C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5765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D0D7BBC-8E0B-F24A-B2C6-B725965141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7058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561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8BAFF8-81B2-BE4A-8770-987BE457B37D}"/>
              </a:ext>
            </a:extLst>
          </p:cNvPr>
          <p:cNvSpPr/>
          <p:nvPr userDrawn="1"/>
        </p:nvSpPr>
        <p:spPr>
          <a:xfrm>
            <a:off x="7107382" y="0"/>
            <a:ext cx="5084618" cy="6858000"/>
          </a:xfrm>
          <a:prstGeom prst="rect">
            <a:avLst/>
          </a:prstGeom>
          <a:solidFill>
            <a:srgbClr val="007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7107382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4639973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46401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4627611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4639973" cy="122136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58BF75F-7C85-7D48-A4BD-E2EE6A730E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5166A8-1B73-BC4C-8814-4565CFCD7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260474"/>
            <a:ext cx="5672138" cy="4226400"/>
          </a:xfrm>
          <a:solidFill>
            <a:schemeClr val="bg1"/>
          </a:solidFill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931053-3A45-8D4B-A2D7-2642339734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781" y="3889375"/>
            <a:ext cx="4662344" cy="2438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443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D9DF8B-7625-644C-9B05-4EFE9453FB72}"/>
              </a:ext>
            </a:extLst>
          </p:cNvPr>
          <p:cNvSpPr txBox="1">
            <a:spLocks/>
          </p:cNvSpPr>
          <p:nvPr userDrawn="1"/>
        </p:nvSpPr>
        <p:spPr>
          <a:xfrm>
            <a:off x="6412992" y="2239617"/>
            <a:ext cx="2678889" cy="262803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600" spc="300" dirty="0"/>
              <a:t>MORE INFORMATION</a:t>
            </a:r>
          </a:p>
          <a:p>
            <a:endParaRPr lang="en-GB" sz="1600" dirty="0"/>
          </a:p>
          <a:p>
            <a:r>
              <a:rPr lang="en-GB" sz="2400" dirty="0" err="1"/>
              <a:t>info@peppol.eu</a:t>
            </a:r>
            <a:endParaRPr lang="en-GB" sz="2400" dirty="0"/>
          </a:p>
          <a:p>
            <a:r>
              <a:rPr lang="en-GB" sz="2400" u="none" dirty="0">
                <a:solidFill>
                  <a:schemeClr val="bg1"/>
                </a:solidFill>
              </a:rPr>
              <a:t>www.peppol.eu</a:t>
            </a:r>
          </a:p>
          <a:p>
            <a:endParaRPr lang="en-GB" sz="1600" dirty="0"/>
          </a:p>
          <a:p>
            <a:endParaRPr lang="en-GB" sz="1000" spc="300" dirty="0"/>
          </a:p>
          <a:p>
            <a:r>
              <a:rPr lang="en-GB" sz="1600" spc="300" dirty="0"/>
              <a:t>FOLLOW US</a:t>
            </a:r>
          </a:p>
          <a:p>
            <a:endParaRPr lang="en-GB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16D9B8C-07DD-414F-B44B-A0104CB10B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131682" y="4376281"/>
            <a:ext cx="491366" cy="4913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DF1389A-0253-2741-8F9C-743A648216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526654" y="4376281"/>
            <a:ext cx="491366" cy="491366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F367EEC1-A766-7745-96F5-B9DC4133A9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00120" y="1990354"/>
            <a:ext cx="2817625" cy="287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61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1412694"/>
          </a:xfrm>
        </p:spPr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489347" indent="-25717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688181" indent="-180975">
              <a:buClr>
                <a:schemeClr val="accent1"/>
              </a:buClr>
              <a:buFont typeface="+mj-lt"/>
              <a:buAutoNum type="alphaLcPeriod"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4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804477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4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pic>
        <p:nvPicPr>
          <p:cNvPr id="7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9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3740104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765012" y="2796377"/>
            <a:ext cx="3918389" cy="126524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007AD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rgbClr val="00326D"/>
                </a:solidFill>
              </a:rPr>
              <a:t>www.peppol.eu</a:t>
            </a:r>
            <a:endParaRPr lang="en-GB" sz="1200" u="none" dirty="0">
              <a:solidFill>
                <a:srgbClr val="00326D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PEPPOL is owned by </a:t>
            </a:r>
            <a:r>
              <a:rPr lang="en-GB" sz="600" u="none" dirty="0" err="1">
                <a:solidFill>
                  <a:srgbClr val="00326D">
                    <a:alpha val="40000"/>
                  </a:srgbClr>
                </a:solidFill>
              </a:rPr>
              <a:t>OpenPEPPOL</a:t>
            </a:r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707455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931" y="3311392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Quote text to go here</a:t>
            </a:r>
            <a:endParaRPr lang="en-US" dirty="0"/>
          </a:p>
        </p:txBody>
      </p:sp>
      <p:pic>
        <p:nvPicPr>
          <p:cNvPr id="4" name="Picture 3" descr="A picture containing necklace, drawing, knot&#10;&#10;Description automatically generated">
            <a:extLst>
              <a:ext uri="{FF2B5EF4-FFF2-40B4-BE49-F238E27FC236}">
                <a16:creationId xmlns:a16="http://schemas.microsoft.com/office/drawing/2014/main" id="{F5868033-A3CE-3A4A-831A-E58E65705D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98665" y="2279971"/>
            <a:ext cx="1394669" cy="65959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9D1F0EA-E48B-F346-A71F-DC5FD25BA9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40931" y="4041745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– Quote auth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67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30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3116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254668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1551967"/>
            <a:ext cx="10582492" cy="4007459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3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543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746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 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90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547D0C-B625-0C4B-A036-692DC325C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40CE0E-3D1D-574F-BD6F-521510223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5CFB4A-D389-2C41-9D48-BDF357A0D4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D582E0-4596-5E40-9B2F-B7E327C0CAD7}" type="datetime1">
              <a:rPr lang="en-GB" smtClean="0"/>
              <a:t>26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4AE54F-FED9-2A41-8618-CC9E03F9F8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DA4CD-8FF0-754C-A598-DC59CD84B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A340D-312D-204F-893F-B70EFC62E1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63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1" r:id="rId4"/>
    <p:sldLayoutId id="2147483659" r:id="rId5"/>
    <p:sldLayoutId id="2147483663" r:id="rId6"/>
    <p:sldLayoutId id="2147483661" r:id="rId7"/>
    <p:sldLayoutId id="2147483658" r:id="rId8"/>
    <p:sldLayoutId id="2147483660" r:id="rId9"/>
    <p:sldLayoutId id="2147483664" r:id="rId10"/>
    <p:sldLayoutId id="2147483662" r:id="rId11"/>
    <p:sldLayoutId id="2147483655" r:id="rId12"/>
    <p:sldLayoutId id="2147483653" r:id="rId13"/>
    <p:sldLayoutId id="2147483654" r:id="rId14"/>
    <p:sldLayoutId id="2147483652" r:id="rId15"/>
    <p:sldLayoutId id="2147483650" r:id="rId16"/>
    <p:sldLayoutId id="2147483665" r:id="rId17"/>
    <p:sldLayoutId id="2147483666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326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7AD7"/>
        </a:buClr>
        <a:buFont typeface="Arial" panose="020B0604020202020204" pitchFamily="34" charset="0"/>
        <a:buChar char="•"/>
        <a:defRPr sz="20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8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C6E4B2-BA46-457D-801E-C493EADB22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Peppol International Invoice</a:t>
            </a:r>
            <a:endParaRPr lang="is-I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58210-06F5-40C1-BF37-028C84B1F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75834" y="3587297"/>
            <a:ext cx="4910137" cy="358775"/>
          </a:xfrm>
        </p:spPr>
        <p:txBody>
          <a:bodyPr>
            <a:normAutofit lnSpcReduction="10000"/>
          </a:bodyPr>
          <a:lstStyle/>
          <a:p>
            <a:r>
              <a:rPr lang="en-GB" dirty="0"/>
              <a:t>06 — Meeting slides 2019-11-26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663378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62F2-04C7-425C-81F2-497B8A26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de lists</a:t>
            </a:r>
            <a:endParaRPr lang="is-I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3F43B0-7D57-40F7-8DDE-6C446B488E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2C673-147B-4299-93CE-B6D3E239A7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1551967"/>
            <a:ext cx="10582492" cy="5081589"/>
          </a:xfrm>
        </p:spPr>
        <p:txBody>
          <a:bodyPr/>
          <a:lstStyle/>
          <a:p>
            <a:r>
              <a:rPr lang="is-IS" sz="1100" dirty="0" err="1"/>
              <a:t>Generic</a:t>
            </a:r>
            <a:r>
              <a:rPr lang="is-IS" sz="1100" dirty="0"/>
              <a:t> </a:t>
            </a:r>
            <a:r>
              <a:rPr lang="is-IS" sz="1100" dirty="0" err="1"/>
              <a:t>codes</a:t>
            </a:r>
            <a:r>
              <a:rPr lang="is-IS" sz="1100" dirty="0"/>
              <a:t> </a:t>
            </a:r>
            <a:r>
              <a:rPr lang="is-IS" sz="1100" dirty="0" err="1"/>
              <a:t>and</a:t>
            </a:r>
            <a:r>
              <a:rPr lang="is-IS" sz="1100" dirty="0"/>
              <a:t> </a:t>
            </a:r>
            <a:r>
              <a:rPr lang="is-IS" sz="1100" dirty="0" err="1"/>
              <a:t>used</a:t>
            </a:r>
            <a:r>
              <a:rPr lang="is-IS" sz="1100" dirty="0"/>
              <a:t> </a:t>
            </a:r>
            <a:r>
              <a:rPr lang="is-IS" sz="1100" dirty="0" err="1"/>
              <a:t>in</a:t>
            </a:r>
            <a:r>
              <a:rPr lang="is-IS" sz="1100" dirty="0"/>
              <a:t> full</a:t>
            </a:r>
          </a:p>
          <a:p>
            <a:pPr lvl="1"/>
            <a:r>
              <a:rPr lang="is-IS" sz="900" dirty="0"/>
              <a:t>ISO 3166-1 — Country </a:t>
            </a:r>
            <a:r>
              <a:rPr lang="is-IS" sz="900" dirty="0" err="1"/>
              <a:t>Codes</a:t>
            </a:r>
            <a:r>
              <a:rPr lang="is-IS" sz="900" dirty="0"/>
              <a:t>, shared</a:t>
            </a:r>
          </a:p>
          <a:p>
            <a:pPr lvl="1"/>
            <a:r>
              <a:rPr lang="is-IS" sz="900" dirty="0"/>
              <a:t>ISO 4217 — </a:t>
            </a:r>
            <a:r>
              <a:rPr lang="is-IS" sz="900" dirty="0" err="1"/>
              <a:t>Currency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r>
              <a:rPr lang="is-IS" sz="900" dirty="0"/>
              <a:t>, shared</a:t>
            </a:r>
          </a:p>
          <a:p>
            <a:pPr lvl="1"/>
            <a:r>
              <a:rPr lang="is-IS" sz="900" dirty="0"/>
              <a:t>UN/ECE </a:t>
            </a:r>
            <a:r>
              <a:rPr lang="is-IS" sz="900" dirty="0" err="1"/>
              <a:t>Recommendation</a:t>
            </a:r>
            <a:r>
              <a:rPr lang="is-IS" sz="900" dirty="0"/>
              <a:t> N°20 </a:t>
            </a:r>
            <a:r>
              <a:rPr lang="is-IS" sz="900" dirty="0" err="1"/>
              <a:t>and</a:t>
            </a:r>
            <a:r>
              <a:rPr lang="is-IS" sz="900" dirty="0"/>
              <a:t> UN/ECE </a:t>
            </a:r>
            <a:r>
              <a:rPr lang="is-IS" sz="900" dirty="0" err="1"/>
              <a:t>Recommendation</a:t>
            </a:r>
            <a:r>
              <a:rPr lang="is-IS" sz="900" dirty="0"/>
              <a:t> N°21 — </a:t>
            </a:r>
            <a:r>
              <a:rPr lang="is-IS" sz="900" dirty="0" err="1"/>
              <a:t>Unit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r>
              <a:rPr lang="is-IS" sz="900" dirty="0"/>
              <a:t>, shared</a:t>
            </a:r>
          </a:p>
          <a:p>
            <a:r>
              <a:rPr lang="is-IS" sz="1100" dirty="0" err="1"/>
              <a:t>Identification</a:t>
            </a:r>
            <a:endParaRPr lang="is-IS" sz="1100" dirty="0"/>
          </a:p>
          <a:p>
            <a:pPr lvl="1"/>
            <a:r>
              <a:rPr lang="is-IS" sz="900" dirty="0"/>
              <a:t>ISO/IEC 6523 — </a:t>
            </a:r>
            <a:r>
              <a:rPr lang="is-IS" sz="900" dirty="0" err="1"/>
              <a:t>Identifier</a:t>
            </a:r>
            <a:r>
              <a:rPr lang="is-IS" sz="900" dirty="0"/>
              <a:t> </a:t>
            </a:r>
            <a:r>
              <a:rPr lang="is-IS" sz="900" dirty="0" err="1"/>
              <a:t>scheme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 (ICD), shared</a:t>
            </a:r>
          </a:p>
          <a:p>
            <a:pPr lvl="2"/>
            <a:r>
              <a:rPr lang="is-IS" sz="700" dirty="0"/>
              <a:t>(OPI </a:t>
            </a:r>
            <a:r>
              <a:rPr lang="is-IS" sz="700" dirty="0" err="1"/>
              <a:t>organization</a:t>
            </a:r>
            <a:r>
              <a:rPr lang="is-IS" sz="700" dirty="0"/>
              <a:t> part </a:t>
            </a:r>
            <a:r>
              <a:rPr lang="is-IS" sz="700" dirty="0" err="1"/>
              <a:t>identifier</a:t>
            </a:r>
            <a:r>
              <a:rPr lang="is-IS" sz="700" dirty="0"/>
              <a:t>)</a:t>
            </a:r>
            <a:endParaRPr lang="is-IS" sz="500" dirty="0"/>
          </a:p>
          <a:p>
            <a:pPr lvl="1"/>
            <a:r>
              <a:rPr lang="is-IS" sz="900" dirty="0"/>
              <a:t>CEF EAS — </a:t>
            </a:r>
            <a:r>
              <a:rPr lang="is-IS" sz="900" dirty="0" err="1"/>
              <a:t>Electronic</a:t>
            </a:r>
            <a:r>
              <a:rPr lang="is-IS" sz="900" dirty="0"/>
              <a:t> </a:t>
            </a:r>
            <a:r>
              <a:rPr lang="is-IS" sz="900" dirty="0" err="1"/>
              <a:t>address</a:t>
            </a:r>
            <a:r>
              <a:rPr lang="is-IS" sz="900" dirty="0"/>
              <a:t> </a:t>
            </a:r>
            <a:r>
              <a:rPr lang="is-IS" sz="900" dirty="0" err="1"/>
              <a:t>scheme</a:t>
            </a:r>
            <a:r>
              <a:rPr lang="is-IS" sz="900" dirty="0"/>
              <a:t> </a:t>
            </a:r>
            <a:r>
              <a:rPr lang="is-IS" sz="900" dirty="0" err="1"/>
              <a:t>identifier</a:t>
            </a:r>
            <a:r>
              <a:rPr lang="is-IS" sz="900" dirty="0"/>
              <a:t>, shared </a:t>
            </a:r>
            <a:r>
              <a:rPr lang="is-IS" sz="900" dirty="0" err="1"/>
              <a:t>as</a:t>
            </a:r>
            <a:r>
              <a:rPr lang="is-IS" sz="900" dirty="0"/>
              <a:t> </a:t>
            </a:r>
            <a:r>
              <a:rPr lang="is-IS" sz="900" dirty="0" err="1"/>
              <a:t>in</a:t>
            </a:r>
            <a:r>
              <a:rPr lang="is-IS" sz="900" dirty="0"/>
              <a:t> Peppol.</a:t>
            </a:r>
          </a:p>
          <a:p>
            <a:pPr lvl="2"/>
            <a:r>
              <a:rPr lang="is-IS" sz="700" dirty="0" err="1"/>
              <a:t>Concatination</a:t>
            </a:r>
            <a:r>
              <a:rPr lang="is-IS" sz="700" dirty="0"/>
              <a:t> of ICD </a:t>
            </a:r>
            <a:r>
              <a:rPr lang="is-IS" sz="700" dirty="0" err="1"/>
              <a:t>values</a:t>
            </a:r>
            <a:r>
              <a:rPr lang="is-IS" sz="700" dirty="0"/>
              <a:t>, 3155 (</a:t>
            </a:r>
            <a:r>
              <a:rPr lang="is-IS" sz="700" dirty="0" err="1"/>
              <a:t>uri</a:t>
            </a:r>
            <a:r>
              <a:rPr lang="is-IS" sz="700" dirty="0"/>
              <a:t>, </a:t>
            </a:r>
            <a:r>
              <a:rPr lang="is-IS" sz="700" dirty="0" err="1"/>
              <a:t>smpt</a:t>
            </a:r>
            <a:r>
              <a:rPr lang="is-IS" sz="700" dirty="0"/>
              <a:t>), </a:t>
            </a:r>
            <a:r>
              <a:rPr lang="is-IS" sz="700" dirty="0" err="1"/>
              <a:t>temporary</a:t>
            </a:r>
            <a:r>
              <a:rPr lang="is-IS" sz="700" dirty="0"/>
              <a:t> Peppol.</a:t>
            </a:r>
          </a:p>
          <a:p>
            <a:pPr lvl="2"/>
            <a:r>
              <a:rPr lang="is-IS" sz="700" dirty="0"/>
              <a:t>Peppol </a:t>
            </a:r>
            <a:r>
              <a:rPr lang="is-IS" sz="700" dirty="0" err="1"/>
              <a:t>uses</a:t>
            </a:r>
            <a:r>
              <a:rPr lang="is-IS" sz="700" dirty="0"/>
              <a:t> a </a:t>
            </a:r>
            <a:r>
              <a:rPr lang="is-IS" sz="700" dirty="0" err="1"/>
              <a:t>subset</a:t>
            </a:r>
            <a:r>
              <a:rPr lang="is-IS" sz="700" dirty="0"/>
              <a:t>.</a:t>
            </a:r>
          </a:p>
          <a:p>
            <a:pPr lvl="1"/>
            <a:r>
              <a:rPr lang="is-IS" sz="900" dirty="0"/>
              <a:t>UNTDID 7143 — </a:t>
            </a:r>
            <a:r>
              <a:rPr lang="is-IS" sz="900" dirty="0" err="1"/>
              <a:t>Item</a:t>
            </a:r>
            <a:r>
              <a:rPr lang="is-IS" sz="900" dirty="0"/>
              <a:t> </a:t>
            </a:r>
            <a:r>
              <a:rPr lang="is-IS" sz="900" dirty="0" err="1"/>
              <a:t>type</a:t>
            </a:r>
            <a:r>
              <a:rPr lang="is-IS" sz="900" dirty="0"/>
              <a:t> </a:t>
            </a:r>
            <a:r>
              <a:rPr lang="is-IS" sz="900" dirty="0" err="1"/>
              <a:t>identification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, shared</a:t>
            </a:r>
          </a:p>
          <a:p>
            <a:r>
              <a:rPr lang="is-IS" sz="1100" dirty="0" err="1"/>
              <a:t>Costs</a:t>
            </a:r>
            <a:endParaRPr lang="is-IS" sz="1100" dirty="0"/>
          </a:p>
          <a:p>
            <a:pPr lvl="1"/>
            <a:r>
              <a:rPr lang="is-IS" sz="900" dirty="0"/>
              <a:t>UNTDID 5189 — </a:t>
            </a:r>
            <a:r>
              <a:rPr lang="is-IS" sz="900" dirty="0" err="1"/>
              <a:t>Allowanc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r>
              <a:rPr lang="is-IS" sz="900" dirty="0"/>
              <a:t>, shared</a:t>
            </a:r>
          </a:p>
          <a:p>
            <a:pPr lvl="1"/>
            <a:r>
              <a:rPr lang="is-IS" sz="900" dirty="0"/>
              <a:t>UNTDID 7161 — </a:t>
            </a:r>
            <a:r>
              <a:rPr lang="is-IS" sz="900" dirty="0" err="1"/>
              <a:t>Charg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r>
              <a:rPr lang="is-IS" sz="900" dirty="0"/>
              <a:t>, shared</a:t>
            </a:r>
          </a:p>
          <a:p>
            <a:r>
              <a:rPr lang="is-IS" sz="1100" dirty="0" err="1"/>
              <a:t>Qualifiers</a:t>
            </a:r>
            <a:endParaRPr lang="is-IS" sz="1100" dirty="0"/>
          </a:p>
          <a:p>
            <a:pPr lvl="1"/>
            <a:r>
              <a:rPr lang="is-IS" sz="900" dirty="0"/>
              <a:t>UNTDID 1001 — Document </a:t>
            </a:r>
            <a:r>
              <a:rPr lang="is-IS" sz="900" dirty="0" err="1"/>
              <a:t>type</a:t>
            </a:r>
            <a:r>
              <a:rPr lang="is-IS" sz="900" dirty="0"/>
              <a:t>, </a:t>
            </a:r>
            <a:r>
              <a:rPr lang="is-IS" sz="900" dirty="0" err="1"/>
              <a:t>use</a:t>
            </a:r>
            <a:r>
              <a:rPr lang="is-IS" sz="900" dirty="0"/>
              <a:t> Peppol </a:t>
            </a:r>
            <a:r>
              <a:rPr lang="is-IS" sz="900" dirty="0" err="1"/>
              <a:t>approach</a:t>
            </a:r>
            <a:r>
              <a:rPr lang="is-IS" sz="900" dirty="0"/>
              <a:t> </a:t>
            </a:r>
            <a:r>
              <a:rPr lang="is-IS" sz="900" dirty="0" err="1"/>
              <a:t>but</a:t>
            </a:r>
            <a:r>
              <a:rPr lang="is-IS" sz="900" dirty="0"/>
              <a:t> </a:t>
            </a:r>
            <a:r>
              <a:rPr lang="is-IS" sz="900" dirty="0" err="1"/>
              <a:t>review</a:t>
            </a:r>
            <a:r>
              <a:rPr lang="is-IS" sz="900" dirty="0"/>
              <a:t> </a:t>
            </a:r>
            <a:r>
              <a:rPr lang="is-IS" sz="900" dirty="0" err="1"/>
              <a:t>the</a:t>
            </a:r>
            <a:r>
              <a:rPr lang="is-IS" sz="900" dirty="0"/>
              <a:t> </a:t>
            </a:r>
            <a:r>
              <a:rPr lang="is-IS" sz="900" dirty="0" err="1"/>
              <a:t>restriction</a:t>
            </a:r>
            <a:r>
              <a:rPr lang="is-IS" sz="900" dirty="0"/>
              <a:t> that is </a:t>
            </a:r>
            <a:r>
              <a:rPr lang="is-IS" sz="900" dirty="0" err="1"/>
              <a:t>applied</a:t>
            </a:r>
            <a:r>
              <a:rPr lang="is-IS" sz="900" dirty="0"/>
              <a:t>.</a:t>
            </a:r>
          </a:p>
          <a:p>
            <a:pPr lvl="1"/>
            <a:r>
              <a:rPr lang="is-IS" sz="900" dirty="0"/>
              <a:t>UNTDID 1153 — </a:t>
            </a:r>
            <a:r>
              <a:rPr lang="is-IS" sz="900" dirty="0" err="1"/>
              <a:t>Reference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 </a:t>
            </a:r>
            <a:r>
              <a:rPr lang="is-IS" sz="900" dirty="0" err="1"/>
              <a:t>qualifier</a:t>
            </a:r>
            <a:r>
              <a:rPr lang="is-IS" sz="900" dirty="0"/>
              <a:t>, shared</a:t>
            </a:r>
          </a:p>
          <a:p>
            <a:pPr lvl="1"/>
            <a:r>
              <a:rPr lang="is-IS" sz="900" dirty="0"/>
              <a:t>UNTDID 2005/ UNTDID 2475 — </a:t>
            </a:r>
            <a:r>
              <a:rPr lang="is-IS" sz="900" dirty="0" err="1"/>
              <a:t>Event</a:t>
            </a:r>
            <a:r>
              <a:rPr lang="is-IS" sz="900" dirty="0"/>
              <a:t> </a:t>
            </a:r>
            <a:r>
              <a:rPr lang="is-IS" sz="900" dirty="0" err="1"/>
              <a:t>time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, shared</a:t>
            </a:r>
          </a:p>
          <a:p>
            <a:pPr lvl="1"/>
            <a:r>
              <a:rPr lang="is-IS" sz="900" dirty="0"/>
              <a:t>UNTDID 4451 — Text </a:t>
            </a:r>
            <a:r>
              <a:rPr lang="is-IS" sz="900" dirty="0" err="1"/>
              <a:t>subject</a:t>
            </a:r>
            <a:r>
              <a:rPr lang="is-IS" sz="900" dirty="0"/>
              <a:t> </a:t>
            </a:r>
            <a:r>
              <a:rPr lang="is-IS" sz="900" dirty="0" err="1"/>
              <a:t>qualifier</a:t>
            </a:r>
            <a:r>
              <a:rPr lang="is-IS" sz="900" dirty="0"/>
              <a:t>, not </a:t>
            </a:r>
            <a:r>
              <a:rPr lang="is-IS" sz="900" dirty="0" err="1"/>
              <a:t>used</a:t>
            </a:r>
            <a:r>
              <a:rPr lang="is-IS" sz="900" dirty="0"/>
              <a:t> </a:t>
            </a:r>
            <a:r>
              <a:rPr lang="is-IS" sz="900" dirty="0" err="1"/>
              <a:t>in</a:t>
            </a:r>
            <a:r>
              <a:rPr lang="is-IS" sz="900" dirty="0"/>
              <a:t> </a:t>
            </a:r>
            <a:r>
              <a:rPr lang="is-IS" sz="900" dirty="0" err="1"/>
              <a:t>int‘l</a:t>
            </a:r>
            <a:r>
              <a:rPr lang="is-IS" sz="900" dirty="0"/>
              <a:t> </a:t>
            </a:r>
            <a:r>
              <a:rPr lang="is-IS" sz="900" dirty="0" err="1"/>
              <a:t>model</a:t>
            </a:r>
            <a:r>
              <a:rPr lang="is-IS" sz="900" dirty="0"/>
              <a:t>.</a:t>
            </a:r>
          </a:p>
          <a:p>
            <a:pPr lvl="1"/>
            <a:r>
              <a:rPr lang="is-IS" sz="900" dirty="0" err="1"/>
              <a:t>Mime</a:t>
            </a:r>
            <a:r>
              <a:rPr lang="is-IS" sz="900" dirty="0"/>
              <a:t> </a:t>
            </a:r>
            <a:r>
              <a:rPr lang="is-IS" sz="900" dirty="0" err="1"/>
              <a:t>typ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r>
              <a:rPr lang="is-IS" sz="900" dirty="0"/>
              <a:t> — </a:t>
            </a:r>
            <a:r>
              <a:rPr lang="is-IS" sz="900" dirty="0" err="1"/>
              <a:t>Mim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r>
              <a:rPr lang="is-IS" sz="900" dirty="0"/>
              <a:t>, shared </a:t>
            </a:r>
            <a:r>
              <a:rPr lang="is-IS" sz="900" dirty="0" err="1"/>
              <a:t>as</a:t>
            </a:r>
            <a:r>
              <a:rPr lang="is-IS" sz="900" dirty="0"/>
              <a:t> </a:t>
            </a:r>
            <a:r>
              <a:rPr lang="is-IS" sz="900" dirty="0" err="1"/>
              <a:t>restriced</a:t>
            </a:r>
            <a:r>
              <a:rPr lang="is-IS" sz="900" dirty="0"/>
              <a:t> </a:t>
            </a:r>
            <a:r>
              <a:rPr lang="is-IS" sz="900" dirty="0" err="1"/>
              <a:t>in</a:t>
            </a:r>
            <a:r>
              <a:rPr lang="is-IS" sz="900" dirty="0"/>
              <a:t> EN</a:t>
            </a:r>
          </a:p>
          <a:p>
            <a:endParaRPr lang="is-IS" sz="900" dirty="0"/>
          </a:p>
          <a:p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42245680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80D72E-01AD-4BFE-BB94-EC973583DA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s-I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137CF8-0CA1-4A0A-90B2-5324F6F33E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4E00E8-9A31-4798-A6B5-B07045609C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is-IS" sz="1100" dirty="0" err="1"/>
              <a:t>Tax</a:t>
            </a:r>
            <a:r>
              <a:rPr lang="is-IS" sz="1100" dirty="0"/>
              <a:t> </a:t>
            </a:r>
            <a:r>
              <a:rPr lang="is-IS" sz="1100" dirty="0" err="1"/>
              <a:t>related</a:t>
            </a:r>
            <a:endParaRPr lang="is-IS" sz="1100" dirty="0"/>
          </a:p>
          <a:p>
            <a:pPr lvl="1"/>
            <a:r>
              <a:rPr lang="is-IS" sz="900" dirty="0" err="1"/>
              <a:t>Tax</a:t>
            </a:r>
            <a:r>
              <a:rPr lang="is-IS" sz="900" dirty="0"/>
              <a:t> </a:t>
            </a:r>
            <a:r>
              <a:rPr lang="is-IS" sz="900" dirty="0" err="1"/>
              <a:t>type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, 5153, shared </a:t>
            </a:r>
            <a:r>
              <a:rPr lang="is-IS" sz="900" dirty="0" err="1"/>
              <a:t>as</a:t>
            </a:r>
            <a:r>
              <a:rPr lang="is-IS" sz="900" dirty="0"/>
              <a:t> </a:t>
            </a:r>
            <a:r>
              <a:rPr lang="is-IS" sz="900" dirty="0" err="1"/>
              <a:t>subset</a:t>
            </a:r>
            <a:r>
              <a:rPr lang="is-IS" sz="900" dirty="0"/>
              <a:t>.</a:t>
            </a:r>
          </a:p>
          <a:p>
            <a:pPr lvl="1"/>
            <a:r>
              <a:rPr lang="is-IS" sz="900" dirty="0" err="1"/>
              <a:t>Tax</a:t>
            </a:r>
            <a:r>
              <a:rPr lang="is-IS" sz="900" dirty="0"/>
              <a:t> </a:t>
            </a:r>
            <a:r>
              <a:rPr lang="is-IS" sz="900" dirty="0" err="1"/>
              <a:t>Category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, UNTDID 5305  not a shared </a:t>
            </a:r>
            <a:r>
              <a:rPr lang="is-IS" sz="900" dirty="0" err="1"/>
              <a:t>code</a:t>
            </a:r>
            <a:r>
              <a:rPr lang="is-IS" sz="900" dirty="0"/>
              <a:t> list.</a:t>
            </a:r>
          </a:p>
          <a:p>
            <a:pPr lvl="1"/>
            <a:r>
              <a:rPr lang="is-IS" sz="900" dirty="0"/>
              <a:t>CEF VATEX — VAT </a:t>
            </a:r>
            <a:r>
              <a:rPr lang="is-IS" sz="900" dirty="0" err="1"/>
              <a:t>exemption</a:t>
            </a:r>
            <a:r>
              <a:rPr lang="is-IS" sz="900" dirty="0"/>
              <a:t> </a:t>
            </a:r>
            <a:r>
              <a:rPr lang="is-IS" sz="900" dirty="0" err="1"/>
              <a:t>reason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, not a shared </a:t>
            </a:r>
            <a:r>
              <a:rPr lang="is-IS" sz="900" dirty="0" err="1"/>
              <a:t>code</a:t>
            </a:r>
            <a:r>
              <a:rPr lang="is-IS" sz="900" dirty="0"/>
              <a:t> list.</a:t>
            </a:r>
          </a:p>
          <a:p>
            <a:r>
              <a:rPr lang="is-IS" sz="1100" dirty="0" err="1"/>
              <a:t>Payment</a:t>
            </a:r>
            <a:endParaRPr lang="is-IS" sz="1100" dirty="0"/>
          </a:p>
          <a:p>
            <a:pPr lvl="1"/>
            <a:r>
              <a:rPr lang="is-IS" sz="900" dirty="0"/>
              <a:t>UNTDID 4461 — </a:t>
            </a:r>
            <a:r>
              <a:rPr lang="is-IS" sz="900" dirty="0" err="1"/>
              <a:t>Payment</a:t>
            </a:r>
            <a:r>
              <a:rPr lang="is-IS" sz="900" dirty="0"/>
              <a:t> </a:t>
            </a:r>
            <a:r>
              <a:rPr lang="is-IS" sz="900" dirty="0" err="1"/>
              <a:t>means</a:t>
            </a:r>
            <a:r>
              <a:rPr lang="is-IS" sz="900" dirty="0"/>
              <a:t>, shared.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7652165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3F67C-93C1-498C-95B0-CBE087D2D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pics to discuss for draft</a:t>
            </a:r>
            <a:endParaRPr lang="is-I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FDC0AB-5F39-4372-BC9A-CE42826503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B77FD9-02E1-4F48-AE3E-C3382BC2A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trike="sngStrike" dirty="0"/>
              <a:t>Dividing of business terms into shared and aligned.</a:t>
            </a:r>
          </a:p>
          <a:p>
            <a:r>
              <a:rPr lang="en-GB" strike="sngStrike" dirty="0"/>
              <a:t>Rules that apply to the shared content.</a:t>
            </a:r>
          </a:p>
          <a:p>
            <a:r>
              <a:rPr lang="en-GB" strike="sngStrike" dirty="0"/>
              <a:t>Codes that apply to the shared content.</a:t>
            </a:r>
          </a:p>
          <a:p>
            <a:r>
              <a:rPr lang="en-GB" strike="sngStrike" dirty="0"/>
              <a:t>Additional business terms.</a:t>
            </a:r>
          </a:p>
          <a:p>
            <a:pPr lvl="1"/>
            <a:r>
              <a:rPr lang="en-GB" strike="sngStrike" dirty="0"/>
              <a:t>Generally used but not in the EN.</a:t>
            </a:r>
          </a:p>
          <a:p>
            <a:pPr lvl="1"/>
            <a:r>
              <a:rPr lang="en-GB" strike="sngStrike" dirty="0"/>
              <a:t>Distinct.</a:t>
            </a:r>
          </a:p>
          <a:p>
            <a:r>
              <a:rPr lang="en-GB" dirty="0"/>
              <a:t>Interoperability in the network</a:t>
            </a:r>
          </a:p>
          <a:p>
            <a:pPr lvl="1"/>
            <a:r>
              <a:rPr lang="en-GB" dirty="0"/>
              <a:t>SMP lookup.</a:t>
            </a:r>
          </a:p>
          <a:p>
            <a:pPr lvl="1"/>
            <a:r>
              <a:rPr lang="en-GB" dirty="0"/>
              <a:t>Mandatory principle.</a:t>
            </a:r>
          </a:p>
          <a:p>
            <a:pPr lvl="1"/>
            <a:r>
              <a:rPr lang="en-GB" dirty="0"/>
              <a:t>Preferences.</a:t>
            </a:r>
          </a:p>
        </p:txBody>
      </p:sp>
    </p:spTree>
    <p:extLst>
      <p:ext uri="{BB962C8B-B14F-4D97-AF65-F5344CB8AC3E}">
        <p14:creationId xmlns:p14="http://schemas.microsoft.com/office/powerpoint/2010/main" val="555950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166B6-8919-46E1-AC88-94C525DDE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erarchical layering</a:t>
            </a:r>
            <a:endParaRPr lang="is-I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F658FC3-2B53-417C-B2F2-DD36CCEE5E4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191DEA-B4F0-49CA-986C-30A77EF1EB73}"/>
              </a:ext>
            </a:extLst>
          </p:cNvPr>
          <p:cNvCxnSpPr>
            <a:cxnSpLocks/>
          </p:cNvCxnSpPr>
          <p:nvPr/>
        </p:nvCxnSpPr>
        <p:spPr>
          <a:xfrm>
            <a:off x="8588364" y="1580120"/>
            <a:ext cx="1070791" cy="0"/>
          </a:xfrm>
          <a:prstGeom prst="line">
            <a:avLst/>
          </a:prstGeom>
          <a:ln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531D5B7-B22F-4CBD-982D-A23DC8E3414F}"/>
              </a:ext>
            </a:extLst>
          </p:cNvPr>
          <p:cNvSpPr txBox="1"/>
          <p:nvPr/>
        </p:nvSpPr>
        <p:spPr>
          <a:xfrm>
            <a:off x="6569093" y="1395454"/>
            <a:ext cx="19295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mpliant relation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64782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B4873-CEA9-4B3D-97BA-CA6BC5DD1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ceiving restricted versions</a:t>
            </a:r>
            <a:endParaRPr lang="is-I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CEEDEC-1B65-4E68-87AD-0EF19CB193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2343632"/>
          </a:xfrm>
        </p:spPr>
        <p:txBody>
          <a:bodyPr>
            <a:normAutofit fontScale="25000" lnSpcReduction="20000"/>
          </a:bodyPr>
          <a:lstStyle/>
          <a:p>
            <a:pPr lvl="0"/>
            <a:r>
              <a:rPr lang="en-GB" sz="8000" dirty="0"/>
              <a:t>It can be assumed that a receiver of a specification will accept and process any document that is a based on a restricted version of that specification.</a:t>
            </a:r>
          </a:p>
          <a:p>
            <a:pPr lvl="1"/>
            <a:r>
              <a:rPr lang="en-GB" sz="8000" dirty="0"/>
              <a:t>this is in fact the underlying principle behind EN 16931 accepting CIUS as compliant implementation. </a:t>
            </a:r>
          </a:p>
          <a:p>
            <a:r>
              <a:rPr lang="en-GB" sz="8000" dirty="0"/>
              <a:t>Using wildcard for registering receiving capacities.</a:t>
            </a:r>
          </a:p>
          <a:p>
            <a:pPr lvl="1"/>
            <a:r>
              <a:rPr lang="en-GB" sz="8000" dirty="0">
                <a:solidFill>
                  <a:srgbClr val="0070C0"/>
                </a:solidFill>
              </a:rPr>
              <a:t>urn:cen.eu:en16931</a:t>
            </a:r>
            <a:r>
              <a:rPr lang="en-GB" sz="8000" dirty="0">
                <a:solidFill>
                  <a:srgbClr val="00B050"/>
                </a:solidFill>
              </a:rPr>
              <a:t>#compliant#urn:fdc:peppol.eu:2017:poacc:billing:3.0</a:t>
            </a:r>
            <a:r>
              <a:rPr lang="en-GB" sz="8000" dirty="0">
                <a:solidFill>
                  <a:schemeClr val="accent4">
                    <a:lumMod val="75000"/>
                  </a:schemeClr>
                </a:solidFill>
              </a:rPr>
              <a:t>#compliant:</a:t>
            </a:r>
            <a:r>
              <a:rPr lang="en-GB" sz="11200" dirty="0">
                <a:solidFill>
                  <a:srgbClr val="FF0000"/>
                </a:solidFill>
              </a:rPr>
              <a:t>*</a:t>
            </a:r>
            <a:endParaRPr lang="en-GB" dirty="0"/>
          </a:p>
          <a:p>
            <a:pPr lvl="1"/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457200" lvl="1" indent="0">
              <a:buNone/>
            </a:pP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35754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7C7C6D2-82B3-4652-954C-1DAB2D41C9E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69871" y="318499"/>
            <a:ext cx="11342668" cy="629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63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415A0-BE9D-42DE-857C-F4898630C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90344"/>
          </a:xfrm>
        </p:spPr>
        <p:txBody>
          <a:bodyPr/>
          <a:lstStyle/>
          <a:p>
            <a:r>
              <a:rPr lang="en-GB" dirty="0"/>
              <a:t>Not all BIS are equal</a:t>
            </a:r>
            <a:endParaRPr lang="is-I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D2D46-1CFC-459A-BA62-C39B0AFA3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4062651"/>
          </a:xfrm>
        </p:spPr>
        <p:txBody>
          <a:bodyPr/>
          <a:lstStyle/>
          <a:p>
            <a:r>
              <a:rPr lang="en-GB" dirty="0"/>
              <a:t>Depending on conditions different receivers may prefer or require different restricted specifications.</a:t>
            </a:r>
          </a:p>
          <a:p>
            <a:pPr lvl="1"/>
            <a:r>
              <a:rPr lang="en-GB" dirty="0"/>
              <a:t>European receivers prefer EN16931 compliant invoices.</a:t>
            </a:r>
          </a:p>
          <a:p>
            <a:pPr lvl="1"/>
            <a:r>
              <a:rPr lang="en-GB" dirty="0"/>
              <a:t>European receivers only accept non EN16931 from non-EU senders.</a:t>
            </a:r>
          </a:p>
          <a:p>
            <a:pPr lvl="1"/>
            <a:r>
              <a:rPr lang="en-GB" dirty="0"/>
              <a:t>Same country trading parties prefer their country restricted invoices.</a:t>
            </a:r>
          </a:p>
          <a:p>
            <a:pPr lvl="1"/>
            <a:r>
              <a:rPr lang="en-GB" dirty="0"/>
              <a:t>A receiver may accept common BIS but prefer a particular restriction.</a:t>
            </a:r>
          </a:p>
          <a:p>
            <a:r>
              <a:rPr lang="en-GB" dirty="0"/>
              <a:t>Should the network provide for added information and control of what is exchanged?</a:t>
            </a:r>
          </a:p>
          <a:p>
            <a:pPr lvl="1"/>
            <a:r>
              <a:rPr lang="is-IS" dirty="0"/>
              <a:t>Party </a:t>
            </a:r>
            <a:r>
              <a:rPr lang="is-IS" dirty="0" err="1"/>
              <a:t>legal</a:t>
            </a:r>
            <a:r>
              <a:rPr lang="is-IS" dirty="0"/>
              <a:t> </a:t>
            </a:r>
            <a:r>
              <a:rPr lang="is-IS" dirty="0" err="1"/>
              <a:t>domain</a:t>
            </a:r>
            <a:r>
              <a:rPr lang="en-GB" dirty="0"/>
              <a:t>?</a:t>
            </a:r>
          </a:p>
          <a:p>
            <a:pPr lvl="1"/>
            <a:r>
              <a:rPr lang="en-GB" dirty="0"/>
              <a:t>Preferred BIS.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50485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heme/theme1.xml><?xml version="1.0" encoding="utf-8"?>
<a:theme xmlns:a="http://schemas.openxmlformats.org/drawingml/2006/main" name="Office Theme">
  <a:themeElements>
    <a:clrScheme name="Peppol">
      <a:dk1>
        <a:srgbClr val="000000"/>
      </a:dk1>
      <a:lt1>
        <a:srgbClr val="FFFFFF"/>
      </a:lt1>
      <a:dk2>
        <a:srgbClr val="0D316D"/>
      </a:dk2>
      <a:lt2>
        <a:srgbClr val="F7F9FC"/>
      </a:lt2>
      <a:accent1>
        <a:srgbClr val="2279D6"/>
      </a:accent1>
      <a:accent2>
        <a:srgbClr val="00BAFF"/>
      </a:accent2>
      <a:accent3>
        <a:srgbClr val="0D316D"/>
      </a:accent3>
      <a:accent4>
        <a:srgbClr val="2279D6"/>
      </a:accent4>
      <a:accent5>
        <a:srgbClr val="1CBAF8"/>
      </a:accent5>
      <a:accent6>
        <a:srgbClr val="0D316D"/>
      </a:accent6>
      <a:hlink>
        <a:srgbClr val="2279D6"/>
      </a:hlink>
      <a:folHlink>
        <a:srgbClr val="1CBAF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 — 2019-11-05 PEPPOL International Invoice Meeting Slides.pptx" id="{3507C38A-9DC2-477C-8BF3-084443C48FE9}" vid="{9CAECAA5-B618-4B72-9864-2DE50E3D83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eppol Power Point presentation</Template>
  <TotalTime>0</TotalTime>
  <Words>480</Words>
  <Application>Microsoft Office PowerPoint</Application>
  <PresentationFormat>Widescreen</PresentationFormat>
  <Paragraphs>69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Symbol</vt:lpstr>
      <vt:lpstr>Office Theme</vt:lpstr>
      <vt:lpstr>think-cell Slide</vt:lpstr>
      <vt:lpstr>PowerPoint Presentation</vt:lpstr>
      <vt:lpstr>Code lists</vt:lpstr>
      <vt:lpstr>PowerPoint Presentation</vt:lpstr>
      <vt:lpstr>Topics to discuss for draft</vt:lpstr>
      <vt:lpstr>Hierarchical layering</vt:lpstr>
      <vt:lpstr>Receiving restricted versions</vt:lpstr>
      <vt:lpstr>PowerPoint Presentation</vt:lpstr>
      <vt:lpstr>Not all BIS are equ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1-04T18:13:12Z</dcterms:created>
  <dcterms:modified xsi:type="dcterms:W3CDTF">2019-11-26T11:22:24Z</dcterms:modified>
</cp:coreProperties>
</file>